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bookmarkIdSeed="2">
  <p:sldMasterIdLst>
    <p:sldMasterId id="2147483780" r:id="rId1"/>
    <p:sldMasterId id="2147484011" r:id="rId2"/>
  </p:sldMasterIdLst>
  <p:notesMasterIdLst>
    <p:notesMasterId r:id="rId6"/>
  </p:notesMasterIdLst>
  <p:handoutMasterIdLst>
    <p:handoutMasterId r:id="rId7"/>
  </p:handoutMasterIdLst>
  <p:sldIdLst>
    <p:sldId id="965" r:id="rId3"/>
    <p:sldId id="1075" r:id="rId4"/>
    <p:sldId id="1076" r:id="rId5"/>
  </p:sldIdLst>
  <p:sldSz cx="9906000" cy="6858000" type="A4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362" userDrawn="1">
          <p15:clr>
            <a:srgbClr val="A4A3A4"/>
          </p15:clr>
        </p15:guide>
        <p15:guide id="6" orient="horz" pos="2863" userDrawn="1">
          <p15:clr>
            <a:srgbClr val="A4A3A4"/>
          </p15:clr>
        </p15:guide>
        <p15:guide id="7" orient="horz" pos="3997" userDrawn="1">
          <p15:clr>
            <a:srgbClr val="A4A3A4"/>
          </p15:clr>
        </p15:guide>
        <p15:guide id="15" orient="horz" pos="2409" userDrawn="1">
          <p15:clr>
            <a:srgbClr val="A4A3A4"/>
          </p15:clr>
        </p15:guide>
        <p15:guide id="17" orient="horz" pos="1797" userDrawn="1">
          <p15:clr>
            <a:srgbClr val="A4A3A4"/>
          </p15:clr>
        </p15:guide>
        <p15:guide id="19" orient="horz" pos="3566" userDrawn="1">
          <p15:clr>
            <a:srgbClr val="A4A3A4"/>
          </p15:clr>
        </p15:guide>
        <p15:guide id="20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hrysanthi Sfarna" initials="CS" lastIdx="14" clrIdx="6">
    <p:extLst>
      <p:ext uri="{19B8F6BF-5375-455C-9EA6-DF929625EA0E}">
        <p15:presenceInfo xmlns:p15="http://schemas.microsoft.com/office/powerpoint/2012/main" userId="S::chrysanthi.sfarna@pwc.com::8b1a6f8a-6377-4210-b11c-96942e4f1f41" providerId="AD"/>
      </p:ext>
    </p:extLst>
  </p:cmAuthor>
  <p:cmAuthor id="1" name="Papadakis Michail" initials="PM" lastIdx="13" clrIdx="0">
    <p:extLst>
      <p:ext uri="{19B8F6BF-5375-455C-9EA6-DF929625EA0E}">
        <p15:presenceInfo xmlns:p15="http://schemas.microsoft.com/office/powerpoint/2012/main" userId="Papadakis Michail" providerId="None"/>
      </p:ext>
    </p:extLst>
  </p:cmAuthor>
  <p:cmAuthor id="8" name="Leonidas Papaioannou" initials="LP" lastIdx="1" clrIdx="7">
    <p:extLst>
      <p:ext uri="{19B8F6BF-5375-455C-9EA6-DF929625EA0E}">
        <p15:presenceInfo xmlns:p15="http://schemas.microsoft.com/office/powerpoint/2012/main" userId="S::leonidas.papaioannou@pwc.com::2b4f0d9e-dbe8-4bb8-bff7-e3b911e35a11" providerId="AD"/>
      </p:ext>
    </p:extLst>
  </p:cmAuthor>
  <p:cmAuthor id="2" name="Tsalkadra Daphne" initials="TD" lastIdx="2" clrIdx="1">
    <p:extLst>
      <p:ext uri="{19B8F6BF-5375-455C-9EA6-DF929625EA0E}">
        <p15:presenceInfo xmlns:p15="http://schemas.microsoft.com/office/powerpoint/2012/main" userId="Tsalkadra Daphne" providerId="None"/>
      </p:ext>
    </p:extLst>
  </p:cmAuthor>
  <p:cmAuthor id="3" name="Author" initials="MR" lastIdx="2" clrIdx="2">
    <p:extLst>
      <p:ext uri="{19B8F6BF-5375-455C-9EA6-DF929625EA0E}">
        <p15:presenceInfo xmlns:p15="http://schemas.microsoft.com/office/powerpoint/2012/main" userId="Author" providerId="None"/>
      </p:ext>
    </p:extLst>
  </p:cmAuthor>
  <p:cmAuthor id="4" name="Anna Kowalewska" initials="AK" lastIdx="1" clrIdx="3">
    <p:extLst>
      <p:ext uri="{19B8F6BF-5375-455C-9EA6-DF929625EA0E}">
        <p15:presenceInfo xmlns:p15="http://schemas.microsoft.com/office/powerpoint/2012/main" userId="S-1-5-21-111144332-1579889163-3787059272-79882" providerId="AD"/>
      </p:ext>
    </p:extLst>
  </p:cmAuthor>
  <p:cmAuthor id="5" name="Michail Papadakis" initials="MP" lastIdx="3" clrIdx="4">
    <p:extLst>
      <p:ext uri="{19B8F6BF-5375-455C-9EA6-DF929625EA0E}">
        <p15:presenceInfo xmlns:p15="http://schemas.microsoft.com/office/powerpoint/2012/main" userId="Michail Papadakis" providerId="None"/>
      </p:ext>
    </p:extLst>
  </p:cmAuthor>
  <p:cmAuthor id="6" name="Eleftherios Katsoulieris" initials="EK" lastIdx="17" clrIdx="5">
    <p:extLst>
      <p:ext uri="{19B8F6BF-5375-455C-9EA6-DF929625EA0E}">
        <p15:presenceInfo xmlns:p15="http://schemas.microsoft.com/office/powerpoint/2012/main" userId="S::eleftherios.katsoulieris@pwc.com::b664ccaa-0c94-4c69-8f02-a807244cd8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4646"/>
    <a:srgbClr val="626262"/>
    <a:srgbClr val="E0301E"/>
    <a:srgbClr val="DEDEDE"/>
    <a:srgbClr val="D04A02"/>
    <a:srgbClr val="DA9089"/>
    <a:srgbClr val="DB536A"/>
    <a:srgbClr val="FFB600"/>
    <a:srgbClr val="7A1718"/>
    <a:srgbClr val="F9EF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87" autoAdjust="0"/>
    <p:restoredTop sz="93979" autoAdjust="0"/>
  </p:normalViewPr>
  <p:slideViewPr>
    <p:cSldViewPr snapToGrid="0" snapToObjects="1" showGuides="1">
      <p:cViewPr varScale="1">
        <p:scale>
          <a:sx n="114" d="100"/>
          <a:sy n="114" d="100"/>
        </p:scale>
        <p:origin x="1434" y="120"/>
      </p:cViewPr>
      <p:guideLst>
        <p:guide orient="horz" pos="3362"/>
        <p:guide orient="horz" pos="2863"/>
        <p:guide orient="horz" pos="3997"/>
        <p:guide orient="horz" pos="2409"/>
        <p:guide orient="horz" pos="1797"/>
        <p:guide orient="horz" pos="3566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362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2768" y="4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955" cy="4956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45" y="1"/>
            <a:ext cx="2945955" cy="4956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9B931B-CF42-4382-A255-A0C74A3C5D74}" type="datetimeFigureOut">
              <a:rPr lang="en-US" smtClean="0"/>
              <a:t>4/19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323"/>
            <a:ext cx="2945955" cy="4956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45" y="9429323"/>
            <a:ext cx="2945955" cy="4956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E011E-C414-4613-84AC-A04C53F4B1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3497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 eaLnBrk="1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E10E6FD-89E2-4AFA-9E55-414523EEFAA0}" type="datetimeFigureOut">
              <a:rPr lang="en-GB" smtClean="0"/>
              <a:t>19/04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 eaLnBrk="1">
              <a:defRPr sz="13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8579CAE5-D6A1-424E-AFD7-AA0006AFDF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98045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914400" rtl="0" eaLnBrk="1" latinLnBrk="0" hangingPunct="1">
      <a:buFont typeface="Arial" panose="020B0604020202020204" pitchFamily="34" charset="0"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20000" indent="-18000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07937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80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5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5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6.emf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4953001" y="0"/>
            <a:ext cx="4952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4953000" cy="3429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4953000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7" y="428625"/>
            <a:ext cx="4447381" cy="2055496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406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7" y="374904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00E57C-CC48-F54D-B3F3-3A114B2488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50425" y="5330953"/>
            <a:ext cx="1329881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287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678126" y="0"/>
            <a:ext cx="2227874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A901F27-1E18-0046-A577-0550B326C420}"/>
              </a:ext>
            </a:extLst>
          </p:cNvPr>
          <p:cNvGrpSpPr/>
          <p:nvPr userDrawn="1"/>
        </p:nvGrpSpPr>
        <p:grpSpPr>
          <a:xfrm>
            <a:off x="0" y="0"/>
            <a:ext cx="9906000" cy="6858000"/>
            <a:chOff x="0" y="0"/>
            <a:chExt cx="12192000" cy="6858000"/>
          </a:xfrm>
        </p:grpSpPr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id="{2B6306E4-EA3A-6A40-90F3-BFF139CD1856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463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67CBCF8-572D-4D45-93D3-B122FE4A2D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6" y="428626"/>
            <a:ext cx="6027440" cy="2771775"/>
          </a:xfrm>
        </p:spPr>
        <p:txBody>
          <a:bodyPr anchor="b" anchorCtr="0"/>
          <a:lstStyle>
            <a:lvl1pPr algn="l">
              <a:lnSpc>
                <a:spcPct val="86000"/>
              </a:lnSpc>
              <a:defRPr sz="48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7" y="339471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91449914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103438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CAC806-7708-6C42-A901-982FA119C08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75A8AA7-C631-FC48-B78E-A7C28CBFC4D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39EA78-0E25-1E49-9BAA-8BB4D19EDF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39672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9"/>
            <a:ext cx="4447381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98753" y="2103438"/>
            <a:ext cx="444738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945371-B6F9-F541-89EE-24D897592C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1872E8-5749-484B-9C68-8AF6F238E4A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D96B6-4E2D-5D4D-9281-01075C08C0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566048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953000" y="0"/>
            <a:ext cx="4953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8"/>
            <a:ext cx="4320718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59868" y="430514"/>
            <a:ext cx="432071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64736F-99D3-5349-B4BB-3F5BE96B58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4320719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F02CD0-5DDD-1F41-AEB4-55BDD643AC8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8E0517-3586-2A46-900E-429A592FD73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69611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9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19984" y="2103439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678812" y="2103439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D01178-C346-1B4F-8DFA-F5B5E0660B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957D98-A9BD-6147-8C17-F6034346BCF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079912-E66E-9D45-8060-9249926E269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5288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730498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5098753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7467007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FAD9719-920C-B64C-90D2-E337E9E7C1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41EFB3-11D6-AA4B-8128-47D7D7AFAE91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69CF68-145B-AD42-A079-345D6E783D1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23750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9867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56349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4152831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6049314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7945797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B2DB5C5-A275-6447-991C-726CD70A52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06189D-4BB2-3A4B-BC60-C76CE65FA0CC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98595F-E08B-3E4B-8E63-3152F1690C5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9396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59866" y="2100263"/>
            <a:ext cx="286732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7" y="5280026"/>
            <a:ext cx="286732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3519339" y="2100263"/>
            <a:ext cx="286732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519340" y="5280026"/>
            <a:ext cx="286732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678811" y="2100263"/>
            <a:ext cx="286732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678812" y="5280026"/>
            <a:ext cx="286732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B03D1A-AA63-224E-A7F2-44C5BFC3BB1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9EEA72-3A8E-454B-8611-EF7B92A8D01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A46C5C-0050-F948-8DC9-450AE073496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579802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7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2728536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097205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465873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B37F2-903B-D544-93F5-C52542E06C3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60D960-D902-2048-954B-F454F3A9AB3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FAA743-55F3-AE49-BD56-1FC09BDF7C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7223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359866" y="2103438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6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2728535" y="2103438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2728535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5097204" y="2103438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097204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7465873" y="2103438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465873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022E1-5A19-8748-8180-279AACB6BB6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CB65038-8636-4945-8B6F-709A62BEACF1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625D97-D89C-574F-8C1D-AA1E4D4B3FA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92348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103438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550570" y="1428750"/>
            <a:ext cx="4995564" cy="4743450"/>
          </a:xfrm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C256F8-EAA0-F045-A569-920F86A13F1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212C7E-F059-4B46-B4D7-79D6BA8599B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89E013-6DD8-C341-9F6F-8AA53BE6CA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7754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678125" y="0"/>
            <a:ext cx="2227875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5809F74-389C-BF4E-9840-CD3E0121C200}"/>
              </a:ext>
            </a:extLst>
          </p:cNvPr>
          <p:cNvGrpSpPr/>
          <p:nvPr userDrawn="1"/>
        </p:nvGrpSpPr>
        <p:grpSpPr>
          <a:xfrm>
            <a:off x="0" y="0"/>
            <a:ext cx="9906000" cy="6858000"/>
            <a:chOff x="0" y="0"/>
            <a:chExt cx="12192000" cy="6858000"/>
          </a:xfrm>
        </p:grpSpPr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02FC2F29-20BB-FC46-8933-6BF25A395800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463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1A41927-8102-0140-8A6E-BE11E9B2A3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6" y="428626"/>
            <a:ext cx="6027440" cy="2771775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8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7" y="339471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51043043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hidden">
          <a:xfrm>
            <a:off x="0" y="2103438"/>
            <a:ext cx="3227189" cy="406876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92800" y="2377440"/>
            <a:ext cx="2934653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1050" b="1" spc="-8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3931920"/>
            <a:ext cx="2704801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300" b="0">
                <a:solidFill>
                  <a:schemeClr val="bg1"/>
                </a:solidFill>
              </a:defRPr>
            </a:lvl1pPr>
            <a:lvl2pPr marL="148590" indent="-14859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297180" indent="-14859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445770" indent="-14859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594360" indent="-14859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742950" indent="-14859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891540" indent="-14859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040130" indent="-14859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188720" indent="-14859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3516114" y="2095501"/>
            <a:ext cx="6030020" cy="4076699"/>
          </a:xfrm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6E2E86-965C-BE4A-BDD2-8C3B0C7986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4EA5A5-893B-6B4B-80D2-49FFC81C88C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4F96C2-47B6-4747-B231-79A630D24A9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56194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3599543"/>
            <a:ext cx="286732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488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7" y="2095500"/>
            <a:ext cx="286732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6906" b="0" spc="-8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516114" y="2095500"/>
            <a:ext cx="287119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6906" b="0" spc="-8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680839" y="2095500"/>
            <a:ext cx="286732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6906" b="0" spc="-8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C21E25-BA96-8149-8793-205BDC2635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3516115" y="3599543"/>
            <a:ext cx="287119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488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6680839" y="3599543"/>
            <a:ext cx="286732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488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F3B578-7307-3B4F-9573-5B25CD8634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D65346-FB7D-7243-B361-2D5958F844E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5801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103438"/>
            <a:ext cx="286732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534FC478-2103-444D-A788-6C385FEAD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0208723-B803-0D42-8863-6E0ACA5FA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9D3C748-DE6A-F649-888F-43A3773D1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07927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103438"/>
            <a:ext cx="286732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550570" y="1428750"/>
            <a:ext cx="4995564" cy="4743450"/>
          </a:xfrm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0EE541-D951-5343-8A19-5BC13B8C966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4A7C0D-ED32-3C4A-A6FA-92C1A14555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C2BE143-A791-F940-BA69-8C99703B69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7612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359867" y="2103438"/>
            <a:ext cx="9186267" cy="4068762"/>
          </a:xfrm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8A692-B2AF-6448-8025-A2D10476E9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6BD465-CD15-EC45-83F1-C724AC166A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247A16-A0E7-4A40-BC88-A10C50CA51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85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906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975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143000"/>
            <a:ext cx="371475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2438"/>
              </a:spcAft>
              <a:buFont typeface="Arial" panose="020B0604020202020204" pitchFamily="34" charset="0"/>
              <a:buNone/>
              <a:defRPr sz="2113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359867" y="1623703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D36D47-D12A-3142-B681-815978E85E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042CAE4-1315-134B-A97D-6331422E40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51649C-08F4-D84A-9E3B-1FCB427D60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1218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953000" y="0"/>
            <a:ext cx="4953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975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1714500"/>
            <a:ext cx="4305757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59867" y="687001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ACB6F4-A2A7-6E4D-A8EB-50B5B35AAD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FC6095-B1C7-6143-B9FD-C545A6D035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F7A802-0AAE-FA43-8858-03590E7640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12273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953000" y="0"/>
            <a:ext cx="4953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1714500"/>
            <a:ext cx="4305757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59867" y="687001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BEC181-486E-E441-8900-B8446C2DF2C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1E6323-CD0D-424F-880F-55737281900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842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274570"/>
            <a:ext cx="7751547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59867" y="1362959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5DC986-4502-464F-A426-50A70EA2E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17195B-4456-9145-8D6E-97A5EBDF8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67263F-492F-7F4E-9E89-2A38E1B27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82904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274570"/>
            <a:ext cx="7751547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59867" y="1362959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F95925A0-A65A-B94F-AD42-4A17D5E9B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1CB2D71-BA29-2E4C-A7F8-AB7C48FC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E0FBAD1-BD7F-C249-B609-9F42DAA28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9597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04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4146317" y="-1"/>
            <a:ext cx="5759683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065365-ACD4-4445-B744-F720FB8FF28C}"/>
              </a:ext>
            </a:extLst>
          </p:cNvPr>
          <p:cNvGrpSpPr/>
          <p:nvPr userDrawn="1"/>
        </p:nvGrpSpPr>
        <p:grpSpPr>
          <a:xfrm>
            <a:off x="0" y="1"/>
            <a:ext cx="7242708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63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7" y="1003611"/>
            <a:ext cx="4272645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06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8" y="3749040"/>
            <a:ext cx="4272645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363276883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274570"/>
            <a:ext cx="7751547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59867" y="1362959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944E79-860F-9542-986D-3F487E112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03EA61-A2A9-8D46-A8C8-F5D81CC93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410A1E-B181-CB46-A25E-398B598C5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76946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274570"/>
            <a:ext cx="7751547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59867" y="1362959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DF2FE2-E936-7745-91D2-A6D8CA7F5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FEE05-057D-214D-903C-F8FD6A36D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D12AF3-FC08-E446-85E1-796189A84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535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274570"/>
            <a:ext cx="7751547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59867" y="1362959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B60EFE-B508-D848-9B02-A73119F18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B4447-C39F-954F-B842-43560F6E9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9D7BB50-999D-5745-BB53-011066651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8354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23023" y="2103439"/>
            <a:ext cx="4011035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325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9866" y="0"/>
            <a:ext cx="3530302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171184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023023" y="2103439"/>
            <a:ext cx="4011035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325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9866" y="0"/>
            <a:ext cx="3530302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610607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023023" y="2103439"/>
            <a:ext cx="4011035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325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9866" y="0"/>
            <a:ext cx="3530302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6753799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023023" y="2103439"/>
            <a:ext cx="4011035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325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9866" y="0"/>
            <a:ext cx="3530302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6181057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867" y="428625"/>
            <a:ext cx="1116746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17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86555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867" y="428625"/>
            <a:ext cx="1116746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17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099314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867" y="428625"/>
            <a:ext cx="1116746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17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44492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9130D55-E01B-814B-B368-1A5B9D9224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4146316" y="1"/>
            <a:ext cx="5759683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7BE733A-F034-2C46-AB70-A0813595ECD7}"/>
              </a:ext>
            </a:extLst>
          </p:cNvPr>
          <p:cNvGrpSpPr/>
          <p:nvPr userDrawn="1"/>
        </p:nvGrpSpPr>
        <p:grpSpPr>
          <a:xfrm>
            <a:off x="0" y="1"/>
            <a:ext cx="7242708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63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80AA576-2E0A-D146-9C52-8C67B6E45D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7" y="1003611"/>
            <a:ext cx="4272645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06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8" y="3749040"/>
            <a:ext cx="4272645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350862987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867" y="428625"/>
            <a:ext cx="1116746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17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940601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ADAC9E-8878-DA41-A1D3-2D5C54FB456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9088E2-6117-534E-A3B5-65400594E30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50683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17900" y="432001"/>
            <a:ext cx="6028234" cy="138727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ADAC9E-8878-DA41-A1D3-2D5C54FB456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9088E2-6117-534E-A3B5-65400594E30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82032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9B7FC3-54D3-A044-9662-AED001F4D97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092CA8-9C8A-8146-8F00-4833507614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02183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9906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8" y="428625"/>
            <a:ext cx="444738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71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59866" y="5259600"/>
            <a:ext cx="9186268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A53FBC-337E-0D4B-8811-6E0EEC0A9293}"/>
              </a:ext>
            </a:extLst>
          </p:cNvPr>
          <p:cNvSpPr txBox="1"/>
          <p:nvPr userDrawn="1"/>
        </p:nvSpPr>
        <p:spPr>
          <a:xfrm>
            <a:off x="359867" y="4400549"/>
            <a:ext cx="4447380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75" dirty="0" err="1">
                <a:solidFill>
                  <a:schemeClr val="bg1"/>
                </a:solidFill>
              </a:rPr>
              <a:t>pwc.com</a:t>
            </a:r>
            <a:endParaRPr lang="en-US" sz="975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296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9906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8" y="428625"/>
            <a:ext cx="444738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71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59866" y="5259600"/>
            <a:ext cx="9186268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359867" y="4400549"/>
            <a:ext cx="4447380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75" dirty="0" err="1">
                <a:solidFill>
                  <a:schemeClr val="tx1"/>
                </a:solidFill>
              </a:rPr>
              <a:t>pwc.com</a:t>
            </a:r>
            <a:endParaRPr lang="en-US" sz="975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920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49650" y="685800"/>
            <a:ext cx="57785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1"/>
              <a:t>Click to edit Master title style</a:t>
            </a: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6280152" y="-2286000"/>
            <a:ext cx="152399" cy="5943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National Private Debt Resolution Strategy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FA8D74C-0710-4B43-890E-CF020FFDD8F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wCFirm"/>
          <p:cNvSpPr txBox="1"/>
          <p:nvPr userDrawn="1"/>
        </p:nvSpPr>
        <p:spPr>
          <a:xfrm>
            <a:off x="577850" y="6477001"/>
            <a:ext cx="28067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GB" sz="1000" b="0" i="0" u="none" baseline="0" dirty="0">
                <a:latin typeface="Arial" panose="020B0604020202020204" pitchFamily="34" charset="0"/>
              </a:rPr>
              <a:t>PwC</a:t>
            </a:r>
          </a:p>
        </p:txBody>
      </p:sp>
    </p:spTree>
    <p:extLst>
      <p:ext uri="{BB962C8B-B14F-4D97-AF65-F5344CB8AC3E}">
        <p14:creationId xmlns:p14="http://schemas.microsoft.com/office/powerpoint/2010/main" val="6760085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504B055-84E9-A34C-9FA5-3A4898E3B2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4146316" y="0"/>
            <a:ext cx="5759683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1675EB2-67BA-8341-AFDE-B097C16A2531}"/>
              </a:ext>
            </a:extLst>
          </p:cNvPr>
          <p:cNvGrpSpPr/>
          <p:nvPr userDrawn="1"/>
        </p:nvGrpSpPr>
        <p:grpSpPr>
          <a:xfrm>
            <a:off x="0" y="1"/>
            <a:ext cx="7242708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63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20A64D3-5A58-A74D-827A-3B01DDFF5E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7" y="1009185"/>
            <a:ext cx="4272645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06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8" y="3749040"/>
            <a:ext cx="4272645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2872745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B147A814-53FE-0143-93DA-630210643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4146317" y="0"/>
            <a:ext cx="5759683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9670607-F478-BE4E-8608-89949C7D5279}"/>
              </a:ext>
            </a:extLst>
          </p:cNvPr>
          <p:cNvGrpSpPr/>
          <p:nvPr userDrawn="1"/>
        </p:nvGrpSpPr>
        <p:grpSpPr>
          <a:xfrm>
            <a:off x="0" y="1"/>
            <a:ext cx="7242708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63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C790A76-DC9A-CA48-8F96-B38E81026F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7" y="1009185"/>
            <a:ext cx="4272645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06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8" y="3749040"/>
            <a:ext cx="4272645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30999795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4333875" y="0"/>
            <a:ext cx="5572125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7" y="750888"/>
            <a:ext cx="3798589" cy="2678112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357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7" y="3956185"/>
            <a:ext cx="3798589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22A556-B0A2-E74A-B3E1-08C0F432C2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50425" y="5330953"/>
            <a:ext cx="1329881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3014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2103120"/>
            <a:ext cx="9186267" cy="4073842"/>
          </a:xfrm>
        </p:spPr>
        <p:txBody>
          <a:bodyPr/>
          <a:lstStyle>
            <a:lvl1pPr marL="593328" indent="-593328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buFont typeface="+mj-lt"/>
              <a:buAutoNum type="arabicPeriod"/>
              <a:tabLst>
                <a:tab pos="8631634" algn="r"/>
              </a:tabLst>
              <a:defRPr sz="2275" b="0">
                <a:solidFill>
                  <a:schemeClr val="tx1"/>
                </a:solidFill>
              </a:defRPr>
            </a:lvl1pPr>
            <a:lvl2pPr marL="593328" indent="0">
              <a:buClr>
                <a:schemeClr val="accent4"/>
              </a:buClr>
              <a:buFont typeface="+mj-lt"/>
              <a:buNone/>
              <a:tabLst>
                <a:tab pos="8631634" algn="r"/>
              </a:tabLst>
              <a:defRPr sz="1300"/>
            </a:lvl2pPr>
            <a:lvl3pPr marL="742950" indent="-148332">
              <a:lnSpc>
                <a:spcPct val="100000"/>
              </a:lnSpc>
              <a:tabLst>
                <a:tab pos="8631634" algn="r"/>
              </a:tabLst>
              <a:defRPr/>
            </a:lvl3pPr>
            <a:lvl4pPr marL="891282" indent="-148332">
              <a:lnSpc>
                <a:spcPct val="100000"/>
              </a:lnSpc>
              <a:tabLst>
                <a:tab pos="8631634" algn="r"/>
              </a:tabLst>
              <a:defRPr/>
            </a:lvl4pPr>
            <a:lvl5pPr marL="1039614" indent="-148332">
              <a:lnSpc>
                <a:spcPct val="100000"/>
              </a:lnSpc>
              <a:tabLst>
                <a:tab pos="8631634" algn="r"/>
              </a:tabLst>
              <a:defRPr/>
            </a:lvl5pPr>
            <a:lvl6pPr marL="1187947" indent="-148332">
              <a:lnSpc>
                <a:spcPct val="100000"/>
              </a:lnSpc>
              <a:tabLst>
                <a:tab pos="8631634" algn="r"/>
              </a:tabLst>
              <a:defRPr/>
            </a:lvl6pPr>
            <a:lvl7pPr marL="1336278" indent="-148332">
              <a:lnSpc>
                <a:spcPct val="100000"/>
              </a:lnSpc>
              <a:tabLst>
                <a:tab pos="8631634" algn="r"/>
              </a:tabLst>
              <a:defRPr/>
            </a:lvl7pPr>
            <a:lvl8pPr marL="1485900" indent="-148332">
              <a:lnSpc>
                <a:spcPct val="100000"/>
              </a:lnSpc>
              <a:tabLst>
                <a:tab pos="8631634" algn="r"/>
              </a:tabLst>
              <a:defRPr/>
            </a:lvl8pPr>
            <a:lvl9pPr marL="1634232" indent="-148332">
              <a:lnSpc>
                <a:spcPct val="100000"/>
              </a:lnSpc>
              <a:tabLst>
                <a:tab pos="8631634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2926E-C7A2-1946-B74B-5EC49D3EA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29A14A-827E-1247-9162-E763C985AC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AE826D-197B-B84E-8B9B-E0610700761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81625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79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2103120"/>
            <a:ext cx="6027439" cy="40738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CAC76-AD94-234E-8386-FD25DC54D41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86007-FECF-0B43-98E4-BE646CA75F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1193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2103120"/>
            <a:ext cx="9186267" cy="40738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AE0E6F-13EB-BD40-A19F-F1CFDDB465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EE818A-A3B1-A74B-A063-799FD726DC7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B0F34F-6B8E-584C-9E9F-165D0787824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8341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6578203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578203" cy="1143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11" name="Rectangle 10"/>
          <p:cNvSpPr/>
          <p:nvPr/>
        </p:nvSpPr>
        <p:spPr bwMode="hidden">
          <a:xfrm>
            <a:off x="6578203" y="0"/>
            <a:ext cx="3327797" cy="34290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6" y="428625"/>
            <a:ext cx="602744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8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8" y="374904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50425" y="5534526"/>
            <a:ext cx="1329881" cy="1147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4128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103438"/>
            <a:ext cx="2867322" cy="4068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27051-9445-A34F-940C-D451EEF398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E96824-1DC8-8F4C-9F19-4AA8BD36E94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C406C8-2617-D442-A446-EA4D0CC6D9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853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9"/>
            <a:ext cx="4447381" cy="40687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98753" y="2103438"/>
            <a:ext cx="4447381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456CA5-A388-1D41-B4AF-6658D4C957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232899-915E-C74D-8F7F-7C2DD55182A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E4EFE4-848B-FB4C-92AC-48F9C8C7E4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105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953000" y="0"/>
            <a:ext cx="4953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9"/>
            <a:ext cx="4320718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4320718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DF40C9-D7F9-A14D-8F2B-F46833A0170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913943-67C1-A441-988B-505B7F0D23B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8782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8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19984" y="2103438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678812" y="2103438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E0F926-F4BA-044E-B97A-AA8668B032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EB6748-91CD-EA44-B3CB-A9D864D8B20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B9031D-3AD3-5746-B707-6596083321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7040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730498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5098753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7467007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D6E0CB0-5FCA-9E41-ACFD-7D08A524DF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638E35-65AD-4243-B284-707345D47D7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1698C3-BF03-D940-AA4E-1704020681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6190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9867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56349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4152831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6049314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7945797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C0705E1-E330-8C4F-A023-40952CF24C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2D3CEF-2FE9-6541-A411-8712E77FDE9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0C409-BC93-7948-9808-660EF10182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72899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59866" y="2100263"/>
            <a:ext cx="286732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7" y="5280026"/>
            <a:ext cx="286732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3519339" y="2100263"/>
            <a:ext cx="286732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519340" y="5280026"/>
            <a:ext cx="286732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678811" y="2100263"/>
            <a:ext cx="286732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678812" y="5280026"/>
            <a:ext cx="286732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A63A94-C8E2-FB44-885B-EB683E5F686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5A3E01-BC1E-FC45-9A3B-16FFF0CD47E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6CD684-D4FE-F645-A29A-2F42832D27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4590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7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2729706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099545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469384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D2E598-676F-DE44-A364-05E35FEB311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EE7D73-CC34-F34E-8E0D-FE9EFCAB5B6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69DEA3-5E99-424B-BE2E-8D9202AD4FC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9956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359865" y="2103120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6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2729706" y="2103120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2729706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5099545" y="2103120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099544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7469384" y="2103120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469384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EC188F-17FB-9741-A681-A3C06DA3BEA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C7FE2CE-7430-B14C-8AB3-DE28B3871F5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226472-611E-0C4D-B900-2140DFE78BD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494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103438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550570" y="1428750"/>
            <a:ext cx="4995564" cy="4743450"/>
          </a:xfrm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397FBE-5CF3-D24C-9080-6E833FFE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C69D5E-619A-7A4D-B6D5-5294509D714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8D71E4-CBC9-3648-9D74-CDE027F0E95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2012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6578203" cy="3429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63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578203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63"/>
          </a:p>
        </p:txBody>
      </p:sp>
      <p:sp>
        <p:nvSpPr>
          <p:cNvPr id="11" name="Rectangle 10"/>
          <p:cNvSpPr/>
          <p:nvPr/>
        </p:nvSpPr>
        <p:spPr bwMode="hidden">
          <a:xfrm>
            <a:off x="6578203" y="0"/>
            <a:ext cx="3327797" cy="3429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6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6" y="428625"/>
            <a:ext cx="602744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8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8" y="374904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571B43E-7EFD-FC49-8203-0C37C621BF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50425" y="5330953"/>
            <a:ext cx="1329881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3744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2103438"/>
            <a:ext cx="6027439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242D6C-75F6-2B45-8341-980F99E5DA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226BB03-6EF6-F445-88B0-A7B24602567C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8846DF-B557-F249-A820-B138A17441D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5B6EC7-613B-094E-83F4-DA4B13BB533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7289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2103438"/>
            <a:ext cx="918626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8C6408-9684-F649-A01B-20A1E9A52E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09AE37-4C0E-9449-8811-AF627111A71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5A4581-58A2-5947-96BD-212EB853695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484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103438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CAC806-7708-6C42-A901-982FA119C08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75A8AA7-C631-FC48-B78E-A7C28CBFC4D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39EA78-0E25-1E49-9BAA-8BB4D19EDF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3280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9"/>
            <a:ext cx="4447381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98753" y="2103438"/>
            <a:ext cx="444738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945371-B6F9-F541-89EE-24D897592C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1872E8-5749-484B-9C68-8AF6F238E4A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D96B6-4E2D-5D4D-9281-01075C08C0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0832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953000" y="0"/>
            <a:ext cx="4953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8"/>
            <a:ext cx="4320718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59868" y="430514"/>
            <a:ext cx="432071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64736F-99D3-5349-B4BB-3F5BE96B58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4320719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F02CD0-5DDD-1F41-AEB4-55BDD643AC8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8E0517-3586-2A46-900E-429A592FD73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855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9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19984" y="2103439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678812" y="2103439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D01178-C346-1B4F-8DFA-F5B5E0660B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957D98-A9BD-6147-8C17-F6034346BCF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079912-E66E-9D45-8060-9249926E269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7099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730498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5098753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7467007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FAD9719-920C-B64C-90D2-E337E9E7C1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41EFB3-11D6-AA4B-8128-47D7D7AFAE91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69CF68-145B-AD42-A079-345D6E783D1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1190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9867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56349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4152831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6049314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7945797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B2DB5C5-A275-6447-991C-726CD70A52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06189D-4BB2-3A4B-BC60-C76CE65FA0CC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98595F-E08B-3E4B-8E63-3152F1690C5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6480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59866" y="2100263"/>
            <a:ext cx="286732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7" y="5280026"/>
            <a:ext cx="286732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3519339" y="2100263"/>
            <a:ext cx="286732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519340" y="5280026"/>
            <a:ext cx="286732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678811" y="2100263"/>
            <a:ext cx="286732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678812" y="5280026"/>
            <a:ext cx="286732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B03D1A-AA63-224E-A7F2-44C5BFC3BB1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9EEA72-3A8E-454B-8611-EF7B92A8D01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A46C5C-0050-F948-8DC9-450AE073496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6285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7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2728536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097205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465873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B37F2-903B-D544-93F5-C52542E06C3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60D960-D902-2048-954B-F454F3A9AB3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FAA743-55F3-AE49-BD56-1FC09BDF7C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5652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6578203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63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578203" cy="1143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63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hidden">
          <a:xfrm>
            <a:off x="6578203" y="0"/>
            <a:ext cx="3327797" cy="3429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6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6" y="428625"/>
            <a:ext cx="602744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8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8" y="374904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2DF81D-CFC9-CA4F-9296-0DF32281B1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50425" y="5330953"/>
            <a:ext cx="1329881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405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359866" y="2103438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6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2728535" y="2103438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2728535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5097204" y="2103438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097204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7465873" y="2103438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465873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022E1-5A19-8748-8180-279AACB6BB6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CB65038-8636-4945-8B6F-709A62BEACF1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625D97-D89C-574F-8C1D-AA1E4D4B3FA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6402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103438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550570" y="1428750"/>
            <a:ext cx="4995564" cy="4743450"/>
          </a:xfrm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C256F8-EAA0-F045-A569-920F86A13F1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212C7E-F059-4B46-B4D7-79D6BA8599B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89E013-6DD8-C341-9F6F-8AA53BE6CA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5301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hidden">
          <a:xfrm>
            <a:off x="0" y="2103438"/>
            <a:ext cx="3227189" cy="406876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92800" y="2377440"/>
            <a:ext cx="2934653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1050" b="1" spc="-8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3931920"/>
            <a:ext cx="2704801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300" b="0">
                <a:solidFill>
                  <a:schemeClr val="bg1"/>
                </a:solidFill>
              </a:defRPr>
            </a:lvl1pPr>
            <a:lvl2pPr marL="148590" indent="-14859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297180" indent="-14859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445770" indent="-14859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594360" indent="-14859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742950" indent="-14859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891540" indent="-14859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040130" indent="-14859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188720" indent="-14859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3516114" y="2095501"/>
            <a:ext cx="6030020" cy="4076699"/>
          </a:xfrm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6E2E86-965C-BE4A-BDD2-8C3B0C7986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4EA5A5-893B-6B4B-80D2-49FFC81C88C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4F96C2-47B6-4747-B231-79A630D24A9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9846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3599543"/>
            <a:ext cx="286732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488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7" y="2095500"/>
            <a:ext cx="286732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6906" b="0" spc="-8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516114" y="2095500"/>
            <a:ext cx="287119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6906" b="0" spc="-8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680839" y="2095500"/>
            <a:ext cx="286732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6906" b="0" spc="-8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C21E25-BA96-8149-8793-205BDC2635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3516115" y="3599543"/>
            <a:ext cx="287119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488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6680839" y="3599543"/>
            <a:ext cx="286732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488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F3B578-7307-3B4F-9573-5B25CD8634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D65346-FB7D-7243-B361-2D5958F844E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6388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103438"/>
            <a:ext cx="286732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534FC478-2103-444D-A788-6C385FEAD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0208723-B803-0D42-8863-6E0ACA5FA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9D3C748-DE6A-F649-888F-43A3773D1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03340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103438"/>
            <a:ext cx="286732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550570" y="1428750"/>
            <a:ext cx="4995564" cy="4743450"/>
          </a:xfrm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0EE541-D951-5343-8A19-5BC13B8C966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4A7C0D-ED32-3C4A-A6FA-92C1A14555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C2BE143-A791-F940-BA69-8C99703B69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6895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359867" y="2103438"/>
            <a:ext cx="9186267" cy="4068762"/>
          </a:xfrm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8A692-B2AF-6448-8025-A2D10476E9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6BD465-CD15-EC45-83F1-C724AC166A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247A16-A0E7-4A40-BC88-A10C50CA51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3423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2555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906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975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143000"/>
            <a:ext cx="371475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2438"/>
              </a:spcAft>
              <a:buFont typeface="Arial" panose="020B0604020202020204" pitchFamily="34" charset="0"/>
              <a:buNone/>
              <a:defRPr sz="2113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359867" y="1623703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D36D47-D12A-3142-B681-815978E85E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042CAE4-1315-134B-A97D-6331422E40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51649C-08F4-D84A-9E3B-1FCB427D60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07621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953000" y="0"/>
            <a:ext cx="4953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975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1714500"/>
            <a:ext cx="4305757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59867" y="687001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ACB6F4-A2A7-6E4D-A8EB-50B5B35AAD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FC6095-B1C7-6143-B9FD-C545A6D035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F7A802-0AAE-FA43-8858-03590E7640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32188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953000" y="0"/>
            <a:ext cx="4953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1714500"/>
            <a:ext cx="4305757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59867" y="687001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BEC181-486E-E441-8900-B8446C2DF2C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1E6323-CD0D-424F-880F-55737281900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052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6" y="428625"/>
            <a:ext cx="602744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8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7" y="374904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67EFBB-B928-AC40-8026-93C731DCE1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50425" y="5330952"/>
            <a:ext cx="1329881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733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274570"/>
            <a:ext cx="7751547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59867" y="1362959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5DC986-4502-464F-A426-50A70EA2E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17195B-4456-9145-8D6E-97A5EBDF8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67263F-492F-7F4E-9E89-2A38E1B27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8082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274570"/>
            <a:ext cx="7751547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59867" y="1362959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F95925A0-A65A-B94F-AD42-4A17D5E9B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1CB2D71-BA29-2E4C-A7F8-AB7C48FC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E0FBAD1-BD7F-C249-B609-9F42DAA28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60429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274570"/>
            <a:ext cx="7751547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59867" y="1362959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944E79-860F-9542-986D-3F487E112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03EA61-A2A9-8D46-A8C8-F5D81CC93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410A1E-B181-CB46-A25E-398B598C5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8198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274570"/>
            <a:ext cx="7751547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59867" y="1362959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DF2FE2-E936-7745-91D2-A6D8CA7F5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FEE05-057D-214D-903C-F8FD6A36D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D12AF3-FC08-E446-85E1-796189A84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1804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274570"/>
            <a:ext cx="7751547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438"/>
              </a:spcAft>
              <a:defRPr sz="3088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3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59867" y="1362959"/>
            <a:ext cx="708125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B60EFE-B508-D848-9B02-A73119F18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B4447-C39F-954F-B842-43560F6E9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9D7BB50-999D-5745-BB53-011066651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68800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23023" y="2103439"/>
            <a:ext cx="4011035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325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9866" y="0"/>
            <a:ext cx="3530302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825637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023023" y="2103439"/>
            <a:ext cx="4011035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325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9866" y="0"/>
            <a:ext cx="3530302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757213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023023" y="2103439"/>
            <a:ext cx="4011035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325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9866" y="0"/>
            <a:ext cx="3530302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213619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023023" y="2103439"/>
            <a:ext cx="4011035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325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9866" y="0"/>
            <a:ext cx="3530302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52813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79458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867" y="428625"/>
            <a:ext cx="1116746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17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71466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6" y="428625"/>
            <a:ext cx="602744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87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7" y="374904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644956-77CE-C94F-9DC1-ACB7D92E89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50425" y="5330953"/>
            <a:ext cx="1329881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4388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867" y="428625"/>
            <a:ext cx="1116746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17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336678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867" y="428625"/>
            <a:ext cx="1116746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17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52179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867" y="428625"/>
            <a:ext cx="1116746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17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895109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8439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ADAC9E-8878-DA41-A1D3-2D5C54FB456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9088E2-6117-534E-A3B5-65400594E30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30200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3899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17900" y="432001"/>
            <a:ext cx="6028234" cy="138727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ADAC9E-8878-DA41-A1D3-2D5C54FB456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9088E2-6117-534E-A3B5-65400594E30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27152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59B7FC3-54D3-A044-9662-AED001F4D97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092CA8-9C8A-8146-8F00-4833507614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744782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9906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8" y="428625"/>
            <a:ext cx="444738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71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59866" y="5259600"/>
            <a:ext cx="9186268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A53FBC-337E-0D4B-8811-6E0EEC0A9293}"/>
              </a:ext>
            </a:extLst>
          </p:cNvPr>
          <p:cNvSpPr txBox="1"/>
          <p:nvPr userDrawn="1"/>
        </p:nvSpPr>
        <p:spPr>
          <a:xfrm>
            <a:off x="359867" y="4400549"/>
            <a:ext cx="4447380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975" dirty="0" err="1">
                <a:solidFill>
                  <a:schemeClr val="bg1"/>
                </a:solidFill>
              </a:rPr>
              <a:t>pwc.com</a:t>
            </a:r>
            <a:endParaRPr lang="en-US" sz="975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3272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8" y="428625"/>
            <a:ext cx="444738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71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</p:spTree>
    <p:extLst>
      <p:ext uri="{BB962C8B-B14F-4D97-AF65-F5344CB8AC3E}">
        <p14:creationId xmlns:p14="http://schemas.microsoft.com/office/powerpoint/2010/main" val="14807801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2163391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49650" y="685800"/>
            <a:ext cx="57785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1"/>
              <a:t>Click to edit Master title style</a:t>
            </a: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6280152" y="-2286000"/>
            <a:ext cx="152399" cy="5943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National Private Debt Resolution Strategy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FA8D74C-0710-4B43-890E-CF020FFDD8F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6230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4953001" y="0"/>
            <a:ext cx="4952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4953000" cy="3429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4953000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7" y="428625"/>
            <a:ext cx="4447381" cy="2055496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406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7" y="374904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00E57C-CC48-F54D-B3F3-3A114B2488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50425" y="5330953"/>
            <a:ext cx="1329881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3079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4953000" y="0"/>
            <a:ext cx="4953000" cy="457581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4953000" cy="4575812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10" name="Rectangle 9"/>
          <p:cNvSpPr/>
          <p:nvPr/>
        </p:nvSpPr>
        <p:spPr bwMode="hidden">
          <a:xfrm>
            <a:off x="0" y="4575812"/>
            <a:ext cx="4953000" cy="2282188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7" y="428625"/>
            <a:ext cx="4447381" cy="206692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06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7" y="5101594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09BFEA4-1A04-C344-804A-E610366F99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8399411" y="5330953"/>
            <a:ext cx="1329881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66406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6578203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578203" cy="1143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11" name="Rectangle 10"/>
          <p:cNvSpPr/>
          <p:nvPr/>
        </p:nvSpPr>
        <p:spPr bwMode="hidden">
          <a:xfrm>
            <a:off x="6578203" y="0"/>
            <a:ext cx="3327797" cy="34290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6" y="428625"/>
            <a:ext cx="602744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8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8" y="374904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50425" y="5534526"/>
            <a:ext cx="1329881" cy="1147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5889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6578203" cy="3429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63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578203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63"/>
          </a:p>
        </p:txBody>
      </p:sp>
      <p:sp>
        <p:nvSpPr>
          <p:cNvPr id="11" name="Rectangle 10"/>
          <p:cNvSpPr/>
          <p:nvPr/>
        </p:nvSpPr>
        <p:spPr bwMode="hidden">
          <a:xfrm>
            <a:off x="6578203" y="0"/>
            <a:ext cx="3327797" cy="3429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6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6" y="428625"/>
            <a:ext cx="602744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8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8" y="374904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571B43E-7EFD-FC49-8203-0C37C621BF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50425" y="5330953"/>
            <a:ext cx="1329881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17240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6578203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63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578203" cy="1143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63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hidden">
          <a:xfrm>
            <a:off x="6578203" y="0"/>
            <a:ext cx="3327797" cy="3429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46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6" y="428625"/>
            <a:ext cx="602744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8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8" y="374904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2DF81D-CFC9-CA4F-9296-0DF32281B1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50425" y="5330953"/>
            <a:ext cx="1329881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4687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6" y="428625"/>
            <a:ext cx="602744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8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7" y="374904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67EFBB-B928-AC40-8026-93C731DCE1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50425" y="5330952"/>
            <a:ext cx="1329881" cy="13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280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6" y="428625"/>
            <a:ext cx="6027440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87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7" y="374904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644956-77CE-C94F-9DC1-ACB7D92E89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50425" y="5330953"/>
            <a:ext cx="1329881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5735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4953000" y="0"/>
            <a:ext cx="4953000" cy="457581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4953000" cy="4575812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10" name="Rectangle 9"/>
          <p:cNvSpPr/>
          <p:nvPr/>
        </p:nvSpPr>
        <p:spPr bwMode="hidden">
          <a:xfrm>
            <a:off x="0" y="4575812"/>
            <a:ext cx="4953000" cy="2282188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63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7" y="428625"/>
            <a:ext cx="4447381" cy="206692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06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7" y="5101594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09BFEA4-1A04-C344-804A-E610366F99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8399411" y="5330953"/>
            <a:ext cx="1329881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13908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9906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91E7E14-05A1-3C44-AC4F-3B254DA49C58}"/>
              </a:ext>
            </a:extLst>
          </p:cNvPr>
          <p:cNvGrpSpPr/>
          <p:nvPr userDrawn="1"/>
        </p:nvGrpSpPr>
        <p:grpSpPr>
          <a:xfrm>
            <a:off x="0" y="0"/>
            <a:ext cx="9906000" cy="6858000"/>
            <a:chOff x="0" y="0"/>
            <a:chExt cx="12192000" cy="685800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0AF71D2-4341-774D-95E6-2A6EC9FAB977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0" y="0"/>
              <a:ext cx="12192000" cy="6858000"/>
              <a:chOff x="152400" y="152400"/>
              <a:chExt cx="12196763" cy="6862763"/>
            </a:xfrm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EB6FF182-420C-CE44-A08A-9911616955D9}"/>
                  </a:ext>
                </a:extLst>
              </p:cNvPr>
              <p:cNvSpPr>
                <a:spLocks noChangeAspect="1"/>
              </p:cNvSpPr>
              <p:nvPr/>
            </p:nvSpPr>
            <p:spPr bwMode="hidden">
              <a:xfrm>
                <a:off x="152400" y="3775075"/>
                <a:ext cx="9142413" cy="777875"/>
              </a:xfrm>
              <a:custGeom>
                <a:avLst/>
                <a:gdLst>
                  <a:gd name="T0" fmla="*/ 0 w 7908"/>
                  <a:gd name="T1" fmla="*/ 0 h 1632"/>
                  <a:gd name="T2" fmla="*/ 0 w 7908"/>
                  <a:gd name="T3" fmla="*/ 0 h 1632"/>
                  <a:gd name="T4" fmla="*/ 7908 w 7908"/>
                  <a:gd name="T5" fmla="*/ 0 h 1632"/>
                  <a:gd name="T6" fmla="*/ 7908 w 7908"/>
                  <a:gd name="T7" fmla="*/ 1632 h 1632"/>
                  <a:gd name="T8" fmla="*/ 0 w 7908"/>
                  <a:gd name="T9" fmla="*/ 1632 h 1632"/>
                  <a:gd name="T10" fmla="*/ 0 w 7908"/>
                  <a:gd name="T11" fmla="*/ 0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08" h="1632">
                    <a:moveTo>
                      <a:pt x="0" y="0"/>
                    </a:moveTo>
                    <a:lnTo>
                      <a:pt x="0" y="0"/>
                    </a:lnTo>
                    <a:lnTo>
                      <a:pt x="7908" y="0"/>
                    </a:lnTo>
                    <a:lnTo>
                      <a:pt x="7908" y="1632"/>
                    </a:lnTo>
                    <a:lnTo>
                      <a:pt x="0" y="16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4A0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3BE432B1-2C50-3E4E-AD63-D3F80C22CFAE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152400" y="152400"/>
                <a:ext cx="12196763" cy="6862763"/>
              </a:xfrm>
              <a:custGeom>
                <a:avLst/>
                <a:gdLst>
                  <a:gd name="T0" fmla="*/ 19187 w 25599"/>
                  <a:gd name="T1" fmla="*/ 0 h 14399"/>
                  <a:gd name="T2" fmla="*/ 19187 w 25599"/>
                  <a:gd name="T3" fmla="*/ 0 h 14399"/>
                  <a:gd name="T4" fmla="*/ 19187 w 25599"/>
                  <a:gd name="T5" fmla="*/ 6949 h 14399"/>
                  <a:gd name="T6" fmla="*/ 0 w 25599"/>
                  <a:gd name="T7" fmla="*/ 6949 h 14399"/>
                  <a:gd name="T8" fmla="*/ 0 w 25599"/>
                  <a:gd name="T9" fmla="*/ 7602 h 14399"/>
                  <a:gd name="T10" fmla="*/ 19187 w 25599"/>
                  <a:gd name="T11" fmla="*/ 7602 h 14399"/>
                  <a:gd name="T12" fmla="*/ 19187 w 25599"/>
                  <a:gd name="T13" fmla="*/ 9234 h 14399"/>
                  <a:gd name="T14" fmla="*/ 0 w 25599"/>
                  <a:gd name="T15" fmla="*/ 9234 h 14399"/>
                  <a:gd name="T16" fmla="*/ 0 w 25599"/>
                  <a:gd name="T17" fmla="*/ 9887 h 14399"/>
                  <a:gd name="T18" fmla="*/ 19187 w 25599"/>
                  <a:gd name="T19" fmla="*/ 9887 h 14399"/>
                  <a:gd name="T20" fmla="*/ 19187 w 25599"/>
                  <a:gd name="T21" fmla="*/ 14399 h 14399"/>
                  <a:gd name="T22" fmla="*/ 19839 w 25599"/>
                  <a:gd name="T23" fmla="*/ 14399 h 14399"/>
                  <a:gd name="T24" fmla="*/ 19839 w 25599"/>
                  <a:gd name="T25" fmla="*/ 9887 h 14399"/>
                  <a:gd name="T26" fmla="*/ 25599 w 25599"/>
                  <a:gd name="T27" fmla="*/ 9887 h 14399"/>
                  <a:gd name="T28" fmla="*/ 25599 w 25599"/>
                  <a:gd name="T29" fmla="*/ 9234 h 14399"/>
                  <a:gd name="T30" fmla="*/ 19839 w 25599"/>
                  <a:gd name="T31" fmla="*/ 9234 h 14399"/>
                  <a:gd name="T32" fmla="*/ 19839 w 25599"/>
                  <a:gd name="T33" fmla="*/ 7602 h 14399"/>
                  <a:gd name="T34" fmla="*/ 25599 w 25599"/>
                  <a:gd name="T35" fmla="*/ 7602 h 14399"/>
                  <a:gd name="T36" fmla="*/ 25599 w 25599"/>
                  <a:gd name="T37" fmla="*/ 6949 h 14399"/>
                  <a:gd name="T38" fmla="*/ 19839 w 25599"/>
                  <a:gd name="T39" fmla="*/ 6949 h 14399"/>
                  <a:gd name="T40" fmla="*/ 19839 w 25599"/>
                  <a:gd name="T41" fmla="*/ 0 h 14399"/>
                  <a:gd name="T42" fmla="*/ 19187 w 25599"/>
                  <a:gd name="T43" fmla="*/ 0 h 14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599" h="14399">
                    <a:moveTo>
                      <a:pt x="19187" y="0"/>
                    </a:moveTo>
                    <a:lnTo>
                      <a:pt x="19187" y="0"/>
                    </a:lnTo>
                    <a:lnTo>
                      <a:pt x="19187" y="6949"/>
                    </a:lnTo>
                    <a:lnTo>
                      <a:pt x="0" y="6949"/>
                    </a:lnTo>
                    <a:lnTo>
                      <a:pt x="0" y="7602"/>
                    </a:lnTo>
                    <a:lnTo>
                      <a:pt x="19187" y="7602"/>
                    </a:lnTo>
                    <a:lnTo>
                      <a:pt x="19187" y="9234"/>
                    </a:lnTo>
                    <a:lnTo>
                      <a:pt x="0" y="9234"/>
                    </a:lnTo>
                    <a:lnTo>
                      <a:pt x="0" y="9887"/>
                    </a:lnTo>
                    <a:lnTo>
                      <a:pt x="19187" y="9887"/>
                    </a:lnTo>
                    <a:lnTo>
                      <a:pt x="19187" y="14399"/>
                    </a:lnTo>
                    <a:lnTo>
                      <a:pt x="19839" y="14399"/>
                    </a:lnTo>
                    <a:lnTo>
                      <a:pt x="19839" y="9887"/>
                    </a:lnTo>
                    <a:lnTo>
                      <a:pt x="25599" y="9887"/>
                    </a:lnTo>
                    <a:lnTo>
                      <a:pt x="25599" y="9234"/>
                    </a:lnTo>
                    <a:lnTo>
                      <a:pt x="19839" y="9234"/>
                    </a:lnTo>
                    <a:lnTo>
                      <a:pt x="19839" y="7602"/>
                    </a:lnTo>
                    <a:lnTo>
                      <a:pt x="25599" y="7602"/>
                    </a:lnTo>
                    <a:lnTo>
                      <a:pt x="25599" y="6949"/>
                    </a:lnTo>
                    <a:lnTo>
                      <a:pt x="19839" y="6949"/>
                    </a:lnTo>
                    <a:lnTo>
                      <a:pt x="19839" y="0"/>
                    </a:lnTo>
                    <a:lnTo>
                      <a:pt x="19187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/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42E31FB-8697-8E4D-9430-7773E91817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8" y="3713607"/>
            <a:ext cx="4447380" cy="592074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7" y="428625"/>
            <a:ext cx="6027439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365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9576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9906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BDC28A-6CCA-D946-B517-6BB4EEB49B0B}"/>
              </a:ext>
            </a:extLst>
          </p:cNvPr>
          <p:cNvGrpSpPr/>
          <p:nvPr userDrawn="1"/>
        </p:nvGrpSpPr>
        <p:grpSpPr>
          <a:xfrm>
            <a:off x="0" y="0"/>
            <a:ext cx="9906000" cy="685800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463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7" y="3713608"/>
            <a:ext cx="4447381" cy="594221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7" y="428625"/>
            <a:ext cx="6027439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365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434966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678126" y="0"/>
            <a:ext cx="2227874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A901F27-1E18-0046-A577-0550B326C420}"/>
              </a:ext>
            </a:extLst>
          </p:cNvPr>
          <p:cNvGrpSpPr/>
          <p:nvPr userDrawn="1"/>
        </p:nvGrpSpPr>
        <p:grpSpPr>
          <a:xfrm>
            <a:off x="0" y="0"/>
            <a:ext cx="9906000" cy="6858000"/>
            <a:chOff x="0" y="0"/>
            <a:chExt cx="12192000" cy="6858000"/>
          </a:xfrm>
        </p:grpSpPr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id="{2B6306E4-EA3A-6A40-90F3-BFF139CD1856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463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67CBCF8-572D-4D45-93D3-B122FE4A2D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6" y="428626"/>
            <a:ext cx="6027440" cy="2771775"/>
          </a:xfrm>
        </p:spPr>
        <p:txBody>
          <a:bodyPr anchor="b" anchorCtr="0"/>
          <a:lstStyle>
            <a:lvl1pPr algn="l">
              <a:lnSpc>
                <a:spcPct val="86000"/>
              </a:lnSpc>
              <a:defRPr sz="48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7" y="339471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303322528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678125" y="0"/>
            <a:ext cx="2227875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5809F74-389C-BF4E-9840-CD3E0121C200}"/>
              </a:ext>
            </a:extLst>
          </p:cNvPr>
          <p:cNvGrpSpPr/>
          <p:nvPr userDrawn="1"/>
        </p:nvGrpSpPr>
        <p:grpSpPr>
          <a:xfrm>
            <a:off x="0" y="0"/>
            <a:ext cx="9906000" cy="6858000"/>
            <a:chOff x="0" y="0"/>
            <a:chExt cx="12192000" cy="6858000"/>
          </a:xfrm>
        </p:grpSpPr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02FC2F29-20BB-FC46-8933-6BF25A395800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463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1A41927-8102-0140-8A6E-BE11E9B2A3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6" y="428626"/>
            <a:ext cx="6027440" cy="2771775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8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7" y="3394710"/>
            <a:ext cx="4447381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30566693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4201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9906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91E7E14-05A1-3C44-AC4F-3B254DA49C58}"/>
              </a:ext>
            </a:extLst>
          </p:cNvPr>
          <p:cNvGrpSpPr/>
          <p:nvPr userDrawn="1"/>
        </p:nvGrpSpPr>
        <p:grpSpPr>
          <a:xfrm>
            <a:off x="0" y="0"/>
            <a:ext cx="9906000" cy="6858000"/>
            <a:chOff x="0" y="0"/>
            <a:chExt cx="12192000" cy="685800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0AF71D2-4341-774D-95E6-2A6EC9FAB977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0" y="0"/>
              <a:ext cx="12192000" cy="6858000"/>
              <a:chOff x="152400" y="152400"/>
              <a:chExt cx="12196763" cy="6862763"/>
            </a:xfrm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EB6FF182-420C-CE44-A08A-9911616955D9}"/>
                  </a:ext>
                </a:extLst>
              </p:cNvPr>
              <p:cNvSpPr>
                <a:spLocks noChangeAspect="1"/>
              </p:cNvSpPr>
              <p:nvPr/>
            </p:nvSpPr>
            <p:spPr bwMode="hidden">
              <a:xfrm>
                <a:off x="152400" y="3775075"/>
                <a:ext cx="9142413" cy="777875"/>
              </a:xfrm>
              <a:custGeom>
                <a:avLst/>
                <a:gdLst>
                  <a:gd name="T0" fmla="*/ 0 w 7908"/>
                  <a:gd name="T1" fmla="*/ 0 h 1632"/>
                  <a:gd name="T2" fmla="*/ 0 w 7908"/>
                  <a:gd name="T3" fmla="*/ 0 h 1632"/>
                  <a:gd name="T4" fmla="*/ 7908 w 7908"/>
                  <a:gd name="T5" fmla="*/ 0 h 1632"/>
                  <a:gd name="T6" fmla="*/ 7908 w 7908"/>
                  <a:gd name="T7" fmla="*/ 1632 h 1632"/>
                  <a:gd name="T8" fmla="*/ 0 w 7908"/>
                  <a:gd name="T9" fmla="*/ 1632 h 1632"/>
                  <a:gd name="T10" fmla="*/ 0 w 7908"/>
                  <a:gd name="T11" fmla="*/ 0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08" h="1632">
                    <a:moveTo>
                      <a:pt x="0" y="0"/>
                    </a:moveTo>
                    <a:lnTo>
                      <a:pt x="0" y="0"/>
                    </a:lnTo>
                    <a:lnTo>
                      <a:pt x="7908" y="0"/>
                    </a:lnTo>
                    <a:lnTo>
                      <a:pt x="7908" y="1632"/>
                    </a:lnTo>
                    <a:lnTo>
                      <a:pt x="0" y="16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4A0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3BE432B1-2C50-3E4E-AD63-D3F80C22CFAE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152400" y="152400"/>
                <a:ext cx="12196763" cy="6862763"/>
              </a:xfrm>
              <a:custGeom>
                <a:avLst/>
                <a:gdLst>
                  <a:gd name="T0" fmla="*/ 19187 w 25599"/>
                  <a:gd name="T1" fmla="*/ 0 h 14399"/>
                  <a:gd name="T2" fmla="*/ 19187 w 25599"/>
                  <a:gd name="T3" fmla="*/ 0 h 14399"/>
                  <a:gd name="T4" fmla="*/ 19187 w 25599"/>
                  <a:gd name="T5" fmla="*/ 6949 h 14399"/>
                  <a:gd name="T6" fmla="*/ 0 w 25599"/>
                  <a:gd name="T7" fmla="*/ 6949 h 14399"/>
                  <a:gd name="T8" fmla="*/ 0 w 25599"/>
                  <a:gd name="T9" fmla="*/ 7602 h 14399"/>
                  <a:gd name="T10" fmla="*/ 19187 w 25599"/>
                  <a:gd name="T11" fmla="*/ 7602 h 14399"/>
                  <a:gd name="T12" fmla="*/ 19187 w 25599"/>
                  <a:gd name="T13" fmla="*/ 9234 h 14399"/>
                  <a:gd name="T14" fmla="*/ 0 w 25599"/>
                  <a:gd name="T15" fmla="*/ 9234 h 14399"/>
                  <a:gd name="T16" fmla="*/ 0 w 25599"/>
                  <a:gd name="T17" fmla="*/ 9887 h 14399"/>
                  <a:gd name="T18" fmla="*/ 19187 w 25599"/>
                  <a:gd name="T19" fmla="*/ 9887 h 14399"/>
                  <a:gd name="T20" fmla="*/ 19187 w 25599"/>
                  <a:gd name="T21" fmla="*/ 14399 h 14399"/>
                  <a:gd name="T22" fmla="*/ 19839 w 25599"/>
                  <a:gd name="T23" fmla="*/ 14399 h 14399"/>
                  <a:gd name="T24" fmla="*/ 19839 w 25599"/>
                  <a:gd name="T25" fmla="*/ 9887 h 14399"/>
                  <a:gd name="T26" fmla="*/ 25599 w 25599"/>
                  <a:gd name="T27" fmla="*/ 9887 h 14399"/>
                  <a:gd name="T28" fmla="*/ 25599 w 25599"/>
                  <a:gd name="T29" fmla="*/ 9234 h 14399"/>
                  <a:gd name="T30" fmla="*/ 19839 w 25599"/>
                  <a:gd name="T31" fmla="*/ 9234 h 14399"/>
                  <a:gd name="T32" fmla="*/ 19839 w 25599"/>
                  <a:gd name="T33" fmla="*/ 7602 h 14399"/>
                  <a:gd name="T34" fmla="*/ 25599 w 25599"/>
                  <a:gd name="T35" fmla="*/ 7602 h 14399"/>
                  <a:gd name="T36" fmla="*/ 25599 w 25599"/>
                  <a:gd name="T37" fmla="*/ 6949 h 14399"/>
                  <a:gd name="T38" fmla="*/ 19839 w 25599"/>
                  <a:gd name="T39" fmla="*/ 6949 h 14399"/>
                  <a:gd name="T40" fmla="*/ 19839 w 25599"/>
                  <a:gd name="T41" fmla="*/ 0 h 14399"/>
                  <a:gd name="T42" fmla="*/ 19187 w 25599"/>
                  <a:gd name="T43" fmla="*/ 0 h 14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599" h="14399">
                    <a:moveTo>
                      <a:pt x="19187" y="0"/>
                    </a:moveTo>
                    <a:lnTo>
                      <a:pt x="19187" y="0"/>
                    </a:lnTo>
                    <a:lnTo>
                      <a:pt x="19187" y="6949"/>
                    </a:lnTo>
                    <a:lnTo>
                      <a:pt x="0" y="6949"/>
                    </a:lnTo>
                    <a:lnTo>
                      <a:pt x="0" y="7602"/>
                    </a:lnTo>
                    <a:lnTo>
                      <a:pt x="19187" y="7602"/>
                    </a:lnTo>
                    <a:lnTo>
                      <a:pt x="19187" y="9234"/>
                    </a:lnTo>
                    <a:lnTo>
                      <a:pt x="0" y="9234"/>
                    </a:lnTo>
                    <a:lnTo>
                      <a:pt x="0" y="9887"/>
                    </a:lnTo>
                    <a:lnTo>
                      <a:pt x="19187" y="9887"/>
                    </a:lnTo>
                    <a:lnTo>
                      <a:pt x="19187" y="14399"/>
                    </a:lnTo>
                    <a:lnTo>
                      <a:pt x="19839" y="14399"/>
                    </a:lnTo>
                    <a:lnTo>
                      <a:pt x="19839" y="9887"/>
                    </a:lnTo>
                    <a:lnTo>
                      <a:pt x="25599" y="9887"/>
                    </a:lnTo>
                    <a:lnTo>
                      <a:pt x="25599" y="9234"/>
                    </a:lnTo>
                    <a:lnTo>
                      <a:pt x="19839" y="9234"/>
                    </a:lnTo>
                    <a:lnTo>
                      <a:pt x="19839" y="7602"/>
                    </a:lnTo>
                    <a:lnTo>
                      <a:pt x="25599" y="7602"/>
                    </a:lnTo>
                    <a:lnTo>
                      <a:pt x="25599" y="6949"/>
                    </a:lnTo>
                    <a:lnTo>
                      <a:pt x="19839" y="6949"/>
                    </a:lnTo>
                    <a:lnTo>
                      <a:pt x="19839" y="0"/>
                    </a:lnTo>
                    <a:lnTo>
                      <a:pt x="19187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/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42E31FB-8697-8E4D-9430-7773E91817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8" y="3713607"/>
            <a:ext cx="4447380" cy="592074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7" y="428625"/>
            <a:ext cx="6027439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365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70245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4146317" y="-1"/>
            <a:ext cx="5759683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065365-ACD4-4445-B744-F720FB8FF28C}"/>
              </a:ext>
            </a:extLst>
          </p:cNvPr>
          <p:cNvGrpSpPr/>
          <p:nvPr userDrawn="1"/>
        </p:nvGrpSpPr>
        <p:grpSpPr>
          <a:xfrm>
            <a:off x="0" y="1"/>
            <a:ext cx="7242708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63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7" y="1003611"/>
            <a:ext cx="4272645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06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8" y="3749040"/>
            <a:ext cx="4272645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412866112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9130D55-E01B-814B-B368-1A5B9D9224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4146316" y="1"/>
            <a:ext cx="5759683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7BE733A-F034-2C46-AB70-A0813595ECD7}"/>
              </a:ext>
            </a:extLst>
          </p:cNvPr>
          <p:cNvGrpSpPr/>
          <p:nvPr userDrawn="1"/>
        </p:nvGrpSpPr>
        <p:grpSpPr>
          <a:xfrm>
            <a:off x="0" y="1"/>
            <a:ext cx="7242708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63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80AA576-2E0A-D146-9C52-8C67B6E45D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7" y="1003611"/>
            <a:ext cx="4272645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06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8" y="3749040"/>
            <a:ext cx="4272645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2203495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504B055-84E9-A34C-9FA5-3A4898E3B2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4146316" y="0"/>
            <a:ext cx="5759683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1675EB2-67BA-8341-AFDE-B097C16A2531}"/>
              </a:ext>
            </a:extLst>
          </p:cNvPr>
          <p:cNvGrpSpPr/>
          <p:nvPr userDrawn="1"/>
        </p:nvGrpSpPr>
        <p:grpSpPr>
          <a:xfrm>
            <a:off x="0" y="1"/>
            <a:ext cx="7242708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63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20A64D3-5A58-A74D-827A-3B01DDFF5E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7" y="1009185"/>
            <a:ext cx="4272645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06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8" y="3749040"/>
            <a:ext cx="4272645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3741004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B147A814-53FE-0143-93DA-630210643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4146317" y="0"/>
            <a:ext cx="5759683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9670607-F478-BE4E-8608-89949C7D5279}"/>
              </a:ext>
            </a:extLst>
          </p:cNvPr>
          <p:cNvGrpSpPr/>
          <p:nvPr userDrawn="1"/>
        </p:nvGrpSpPr>
        <p:grpSpPr>
          <a:xfrm>
            <a:off x="0" y="1"/>
            <a:ext cx="7242708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63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C790A76-DC9A-CA48-8F96-B38E81026F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7" y="1009185"/>
            <a:ext cx="4272645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06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8" y="3749040"/>
            <a:ext cx="4272645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40960789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4333875" y="0"/>
            <a:ext cx="5572125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9867" y="750888"/>
            <a:ext cx="3798589" cy="2678112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3575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867" y="3956185"/>
            <a:ext cx="3798589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333875" y="0"/>
            <a:ext cx="5572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GB" sz="1463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22A556-B0A2-E74A-B3E1-08C0F432C2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50425" y="5330953"/>
            <a:ext cx="1329881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12931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2103120"/>
            <a:ext cx="9186267" cy="4073842"/>
          </a:xfrm>
        </p:spPr>
        <p:txBody>
          <a:bodyPr/>
          <a:lstStyle>
            <a:lvl1pPr marL="593328" indent="-593328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>
                <a:schemeClr val="accent1"/>
              </a:buClr>
              <a:buFont typeface="+mj-lt"/>
              <a:buAutoNum type="arabicPeriod"/>
              <a:tabLst>
                <a:tab pos="8631634" algn="r"/>
              </a:tabLst>
              <a:defRPr sz="2275" b="0">
                <a:solidFill>
                  <a:schemeClr val="tx1"/>
                </a:solidFill>
              </a:defRPr>
            </a:lvl1pPr>
            <a:lvl2pPr marL="593328" indent="0">
              <a:buClr>
                <a:schemeClr val="accent4"/>
              </a:buClr>
              <a:buFont typeface="+mj-lt"/>
              <a:buNone/>
              <a:tabLst>
                <a:tab pos="8631634" algn="r"/>
              </a:tabLst>
              <a:defRPr sz="1300"/>
            </a:lvl2pPr>
            <a:lvl3pPr marL="742950" indent="-148332">
              <a:lnSpc>
                <a:spcPct val="100000"/>
              </a:lnSpc>
              <a:tabLst>
                <a:tab pos="8631634" algn="r"/>
              </a:tabLst>
              <a:defRPr/>
            </a:lvl3pPr>
            <a:lvl4pPr marL="891282" indent="-148332">
              <a:lnSpc>
                <a:spcPct val="100000"/>
              </a:lnSpc>
              <a:tabLst>
                <a:tab pos="8631634" algn="r"/>
              </a:tabLst>
              <a:defRPr/>
            </a:lvl4pPr>
            <a:lvl5pPr marL="1039614" indent="-148332">
              <a:lnSpc>
                <a:spcPct val="100000"/>
              </a:lnSpc>
              <a:tabLst>
                <a:tab pos="8631634" algn="r"/>
              </a:tabLst>
              <a:defRPr/>
            </a:lvl5pPr>
            <a:lvl6pPr marL="1187947" indent="-148332">
              <a:lnSpc>
                <a:spcPct val="100000"/>
              </a:lnSpc>
              <a:tabLst>
                <a:tab pos="8631634" algn="r"/>
              </a:tabLst>
              <a:defRPr/>
            </a:lvl6pPr>
            <a:lvl7pPr marL="1336278" indent="-148332">
              <a:lnSpc>
                <a:spcPct val="100000"/>
              </a:lnSpc>
              <a:tabLst>
                <a:tab pos="8631634" algn="r"/>
              </a:tabLst>
              <a:defRPr/>
            </a:lvl7pPr>
            <a:lvl8pPr marL="1485900" indent="-148332">
              <a:lnSpc>
                <a:spcPct val="100000"/>
              </a:lnSpc>
              <a:tabLst>
                <a:tab pos="8631634" algn="r"/>
              </a:tabLst>
              <a:defRPr/>
            </a:lvl8pPr>
            <a:lvl9pPr marL="1634232" indent="-148332">
              <a:lnSpc>
                <a:spcPct val="100000"/>
              </a:lnSpc>
              <a:tabLst>
                <a:tab pos="8631634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92926E-C7A2-1946-B74B-5EC49D3EA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29A14A-827E-1247-9162-E763C985AC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AE826D-197B-B84E-8B9B-E0610700761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246856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2103120"/>
            <a:ext cx="6027439" cy="40738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CAC76-AD94-234E-8386-FD25DC54D41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86007-FECF-0B43-98E4-BE646CA75F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194464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2103120"/>
            <a:ext cx="9186267" cy="40738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AE0E6F-13EB-BD40-A19F-F1CFDDB465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EE818A-A3B1-A74B-A063-799FD726DC7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B0F34F-6B8E-584C-9E9F-165D0787824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98953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103438"/>
            <a:ext cx="2867322" cy="4068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27051-9445-A34F-940C-D451EEF398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E96824-1DC8-8F4C-9F19-4AA8BD36E94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C406C8-2617-D442-A446-EA4D0CC6D9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1117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9"/>
            <a:ext cx="4447381" cy="40687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98753" y="2103438"/>
            <a:ext cx="4447381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456CA5-A388-1D41-B4AF-6658D4C957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232899-915E-C74D-8F7F-7C2DD55182A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E4EFE4-848B-FB4C-92AC-48F9C8C7E4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993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9906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BDC28A-6CCA-D946-B517-6BB4EEB49B0B}"/>
              </a:ext>
            </a:extLst>
          </p:cNvPr>
          <p:cNvGrpSpPr/>
          <p:nvPr userDrawn="1"/>
        </p:nvGrpSpPr>
        <p:grpSpPr>
          <a:xfrm>
            <a:off x="0" y="0"/>
            <a:ext cx="9906000" cy="685800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463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59867" y="3713608"/>
            <a:ext cx="4447381" cy="594221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59867" y="428625"/>
            <a:ext cx="6027439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365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278655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953000" y="0"/>
            <a:ext cx="4953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9"/>
            <a:ext cx="4320718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4320718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DF40C9-D7F9-A14D-8F2B-F46833A0170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913943-67C1-A441-988B-505B7F0D23B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65526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8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19984" y="2103438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678812" y="2103438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E0F926-F4BA-044E-B97A-AA8668B032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EB6748-91CD-EA44-B3CB-A9D864D8B20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B9031D-3AD3-5746-B707-6596083321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39542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9867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730498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5098753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7467007" y="2103438"/>
            <a:ext cx="207675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D6E0CB0-5FCA-9E41-ACFD-7D08A524DF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638E35-65AD-4243-B284-707345D47D7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1698C3-BF03-D940-AA4E-1704020681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39725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9867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56349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4152831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6049314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7945797" y="2103438"/>
            <a:ext cx="1602900" cy="40687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C0705E1-E330-8C4F-A023-40952CF24C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2D3CEF-2FE9-6541-A411-8712E77FDE9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0C409-BC93-7948-9808-660EF10182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72531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59866" y="2100263"/>
            <a:ext cx="286732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7" y="5280026"/>
            <a:ext cx="286732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3519339" y="2100263"/>
            <a:ext cx="286732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519340" y="5280026"/>
            <a:ext cx="286732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678811" y="2100263"/>
            <a:ext cx="286732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678812" y="5280026"/>
            <a:ext cx="286732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A63A94-C8E2-FB44-885B-EB683E5F686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5A3E01-BC1E-FC45-9A3B-16FFF0CD47E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6CD684-D4FE-F645-A29A-2F42832D27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8230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7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2729706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099545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469384" y="3429000"/>
            <a:ext cx="208026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975" b="1"/>
            </a:lvl1pPr>
            <a:lvl2pPr>
              <a:spcAft>
                <a:spcPts val="244"/>
              </a:spcAft>
              <a:defRPr/>
            </a:lvl2pPr>
            <a:lvl3pPr>
              <a:spcAft>
                <a:spcPts val="244"/>
              </a:spcAft>
              <a:defRPr/>
            </a:lvl3pPr>
            <a:lvl4pPr>
              <a:spcAft>
                <a:spcPts val="244"/>
              </a:spcAft>
              <a:defRPr/>
            </a:lvl4pPr>
            <a:lvl5pPr>
              <a:spcAft>
                <a:spcPts val="244"/>
              </a:spcAft>
              <a:defRPr/>
            </a:lvl5pPr>
            <a:lvl6pPr>
              <a:spcAft>
                <a:spcPts val="244"/>
              </a:spcAft>
              <a:defRPr/>
            </a:lvl6pPr>
            <a:lvl7pPr>
              <a:spcAft>
                <a:spcPts val="244"/>
              </a:spcAft>
              <a:defRPr/>
            </a:lvl7pPr>
            <a:lvl8pPr>
              <a:spcAft>
                <a:spcPts val="244"/>
              </a:spcAft>
              <a:defRPr/>
            </a:lvl8pPr>
            <a:lvl9pPr>
              <a:spcAft>
                <a:spcPts val="244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D2E598-676F-DE44-A364-05E35FEB311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EE7D73-CC34-F34E-8E0D-FE9EFCAB5B6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69DEA3-5E99-424B-BE2E-8D9202AD4FC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8127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359865" y="2103120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66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2729706" y="2103120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2729706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5099545" y="2103120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099544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7469384" y="2103120"/>
            <a:ext cx="1077278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469384" y="3657600"/>
            <a:ext cx="208026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244"/>
              </a:spcAft>
              <a:defRPr sz="1300" b="1"/>
            </a:lvl1pPr>
            <a:lvl2pPr>
              <a:spcAft>
                <a:spcPts val="244"/>
              </a:spcAft>
              <a:defRPr sz="1300"/>
            </a:lvl2pPr>
            <a:lvl3pPr>
              <a:spcAft>
                <a:spcPts val="244"/>
              </a:spcAft>
              <a:defRPr sz="1300"/>
            </a:lvl3pPr>
            <a:lvl4pPr>
              <a:spcAft>
                <a:spcPts val="244"/>
              </a:spcAft>
              <a:defRPr sz="1300"/>
            </a:lvl4pPr>
            <a:lvl5pPr>
              <a:spcAft>
                <a:spcPts val="244"/>
              </a:spcAft>
              <a:defRPr sz="1300"/>
            </a:lvl5pPr>
            <a:lvl6pPr>
              <a:spcAft>
                <a:spcPts val="244"/>
              </a:spcAft>
              <a:defRPr sz="1300"/>
            </a:lvl6pPr>
            <a:lvl7pPr>
              <a:spcAft>
                <a:spcPts val="244"/>
              </a:spcAft>
              <a:defRPr sz="1300"/>
            </a:lvl7pPr>
            <a:lvl8pPr>
              <a:spcAft>
                <a:spcPts val="244"/>
              </a:spcAft>
              <a:defRPr sz="1300"/>
            </a:lvl8pPr>
            <a:lvl9pPr>
              <a:spcAft>
                <a:spcPts val="244"/>
              </a:spcAft>
              <a:defRPr sz="13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EC188F-17FB-9741-A681-A3C06DA3BEA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C7FE2CE-7430-B14C-8AB3-DE28B3871F5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226472-611E-0C4D-B900-2140DFE78BD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83523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8" y="2103438"/>
            <a:ext cx="286732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550570" y="1428750"/>
            <a:ext cx="4995564" cy="4743450"/>
          </a:xfrm>
        </p:spPr>
        <p:txBody>
          <a:bodyPr anchor="ctr" anchorCtr="0"/>
          <a:lstStyle>
            <a:lvl1pPr algn="ctr">
              <a:defRPr sz="975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59867" y="432001"/>
            <a:ext cx="918626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397FBE-5CF3-D24C-9080-6E833FFE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C69D5E-619A-7A4D-B6D5-5294509D714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8D71E4-CBC9-3648-9D74-CDE027F0E95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2640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2103438"/>
            <a:ext cx="6027439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242D6C-75F6-2B45-8341-980F99E5DA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226BB03-6EF6-F445-88B0-A7B24602567C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8846DF-B557-F249-A820-B138A17441D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5B6EC7-613B-094E-83F4-DA4B13BB533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9376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867" y="2103438"/>
            <a:ext cx="918626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9867" y="430514"/>
            <a:ext cx="9186267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8C6408-9684-F649-A01B-20A1E9A52E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359866" y="933433"/>
            <a:ext cx="918626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95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09AE37-4C0E-9449-8811-AF627111A71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l-GR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5A4581-58A2-5947-96BD-212EB853695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6786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slideLayout" Target="../slideLayouts/slideLayout94.xml"/><Relationship Id="rId39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89.xml"/><Relationship Id="rId34" Type="http://schemas.openxmlformats.org/officeDocument/2006/relationships/slideLayout" Target="../slideLayouts/slideLayout102.xml"/><Relationship Id="rId42" Type="http://schemas.openxmlformats.org/officeDocument/2006/relationships/slideLayout" Target="../slideLayouts/slideLayout110.xml"/><Relationship Id="rId47" Type="http://schemas.openxmlformats.org/officeDocument/2006/relationships/slideLayout" Target="../slideLayouts/slideLayout115.xml"/><Relationship Id="rId50" Type="http://schemas.openxmlformats.org/officeDocument/2006/relationships/slideLayout" Target="../slideLayouts/slideLayout118.xml"/><Relationship Id="rId55" Type="http://schemas.openxmlformats.org/officeDocument/2006/relationships/slideLayout" Target="../slideLayouts/slideLayout123.xml"/><Relationship Id="rId63" Type="http://schemas.openxmlformats.org/officeDocument/2006/relationships/slideLayout" Target="../slideLayouts/slideLayout131.xml"/><Relationship Id="rId68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75.xml"/><Relationship Id="rId71" Type="http://schemas.openxmlformats.org/officeDocument/2006/relationships/tags" Target="../tags/tag12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32" Type="http://schemas.openxmlformats.org/officeDocument/2006/relationships/slideLayout" Target="../slideLayouts/slideLayout100.xml"/><Relationship Id="rId37" Type="http://schemas.openxmlformats.org/officeDocument/2006/relationships/slideLayout" Target="../slideLayouts/slideLayout105.xml"/><Relationship Id="rId40" Type="http://schemas.openxmlformats.org/officeDocument/2006/relationships/slideLayout" Target="../slideLayouts/slideLayout108.xml"/><Relationship Id="rId45" Type="http://schemas.openxmlformats.org/officeDocument/2006/relationships/slideLayout" Target="../slideLayouts/slideLayout113.xml"/><Relationship Id="rId53" Type="http://schemas.openxmlformats.org/officeDocument/2006/relationships/slideLayout" Target="../slideLayouts/slideLayout121.xml"/><Relationship Id="rId58" Type="http://schemas.openxmlformats.org/officeDocument/2006/relationships/slideLayout" Target="../slideLayouts/slideLayout126.xml"/><Relationship Id="rId66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slideLayout" Target="../slideLayouts/slideLayout96.xml"/><Relationship Id="rId36" Type="http://schemas.openxmlformats.org/officeDocument/2006/relationships/slideLayout" Target="../slideLayouts/slideLayout104.xml"/><Relationship Id="rId49" Type="http://schemas.openxmlformats.org/officeDocument/2006/relationships/slideLayout" Target="../slideLayouts/slideLayout117.xml"/><Relationship Id="rId57" Type="http://schemas.openxmlformats.org/officeDocument/2006/relationships/slideLayout" Target="../slideLayouts/slideLayout125.xml"/><Relationship Id="rId61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31" Type="http://schemas.openxmlformats.org/officeDocument/2006/relationships/slideLayout" Target="../slideLayouts/slideLayout99.xml"/><Relationship Id="rId44" Type="http://schemas.openxmlformats.org/officeDocument/2006/relationships/slideLayout" Target="../slideLayouts/slideLayout112.xml"/><Relationship Id="rId52" Type="http://schemas.openxmlformats.org/officeDocument/2006/relationships/slideLayout" Target="../slideLayouts/slideLayout120.xml"/><Relationship Id="rId60" Type="http://schemas.openxmlformats.org/officeDocument/2006/relationships/slideLayout" Target="../slideLayouts/slideLayout128.xml"/><Relationship Id="rId65" Type="http://schemas.openxmlformats.org/officeDocument/2006/relationships/slideLayout" Target="../slideLayouts/slideLayout133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slideLayout" Target="../slideLayouts/slideLayout95.xml"/><Relationship Id="rId30" Type="http://schemas.openxmlformats.org/officeDocument/2006/relationships/slideLayout" Target="../slideLayouts/slideLayout98.xml"/><Relationship Id="rId35" Type="http://schemas.openxmlformats.org/officeDocument/2006/relationships/slideLayout" Target="../slideLayouts/slideLayout103.xml"/><Relationship Id="rId43" Type="http://schemas.openxmlformats.org/officeDocument/2006/relationships/slideLayout" Target="../slideLayouts/slideLayout111.xml"/><Relationship Id="rId48" Type="http://schemas.openxmlformats.org/officeDocument/2006/relationships/slideLayout" Target="../slideLayouts/slideLayout116.xml"/><Relationship Id="rId56" Type="http://schemas.openxmlformats.org/officeDocument/2006/relationships/slideLayout" Target="../slideLayouts/slideLayout124.xml"/><Relationship Id="rId64" Type="http://schemas.openxmlformats.org/officeDocument/2006/relationships/slideLayout" Target="../slideLayouts/slideLayout132.xml"/><Relationship Id="rId69" Type="http://schemas.openxmlformats.org/officeDocument/2006/relationships/theme" Target="../theme/theme2.xml"/><Relationship Id="rId8" Type="http://schemas.openxmlformats.org/officeDocument/2006/relationships/slideLayout" Target="../slideLayouts/slideLayout76.xml"/><Relationship Id="rId51" Type="http://schemas.openxmlformats.org/officeDocument/2006/relationships/slideLayout" Target="../slideLayouts/slideLayout119.xml"/><Relationship Id="rId72" Type="http://schemas.openxmlformats.org/officeDocument/2006/relationships/oleObject" Target="../embeddings/oleObject9.bin"/><Relationship Id="rId3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33" Type="http://schemas.openxmlformats.org/officeDocument/2006/relationships/slideLayout" Target="../slideLayouts/slideLayout101.xml"/><Relationship Id="rId38" Type="http://schemas.openxmlformats.org/officeDocument/2006/relationships/slideLayout" Target="../slideLayouts/slideLayout106.xml"/><Relationship Id="rId46" Type="http://schemas.openxmlformats.org/officeDocument/2006/relationships/slideLayout" Target="../slideLayouts/slideLayout114.xml"/><Relationship Id="rId59" Type="http://schemas.openxmlformats.org/officeDocument/2006/relationships/slideLayout" Target="../slideLayouts/slideLayout127.xml"/><Relationship Id="rId67" Type="http://schemas.openxmlformats.org/officeDocument/2006/relationships/slideLayout" Target="../slideLayouts/slideLayout135.xml"/><Relationship Id="rId20" Type="http://schemas.openxmlformats.org/officeDocument/2006/relationships/slideLayout" Target="../slideLayouts/slideLayout88.xml"/><Relationship Id="rId41" Type="http://schemas.openxmlformats.org/officeDocument/2006/relationships/slideLayout" Target="../slideLayouts/slideLayout109.xml"/><Relationship Id="rId54" Type="http://schemas.openxmlformats.org/officeDocument/2006/relationships/slideLayout" Target="../slideLayouts/slideLayout122.xml"/><Relationship Id="rId62" Type="http://schemas.openxmlformats.org/officeDocument/2006/relationships/slideLayout" Target="../slideLayouts/slideLayout130.xml"/><Relationship Id="rId70" Type="http://schemas.openxmlformats.org/officeDocument/2006/relationships/tags" Target="../tags/tag11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4005597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395" imgH="394" progId="TCLayout.ActiveDocument.1">
                  <p:embed/>
                </p:oleObj>
              </mc:Choice>
              <mc:Fallback>
                <p:oleObj name="think-cell Slide" r:id="rId7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D3E5112-D714-45F0-BBA4-5ABCC87FF685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6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867" y="432001"/>
            <a:ext cx="9186267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867" y="2103438"/>
            <a:ext cx="9186267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12240" y="6492240"/>
            <a:ext cx="1433894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609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12240" y="6355080"/>
            <a:ext cx="1433894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9">
                <a:solidFill>
                  <a:schemeClr val="tx1"/>
                </a:solidFill>
              </a:defRPr>
            </a:lvl1pPr>
          </a:lstStyle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609">
                <a:solidFill>
                  <a:schemeClr val="tx1"/>
                </a:solidFill>
              </a:defRPr>
            </a:lvl1pPr>
          </a:lstStyle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970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  <p:sldLayoutId id="2147483804" r:id="rId24"/>
    <p:sldLayoutId id="2147483805" r:id="rId25"/>
    <p:sldLayoutId id="2147483806" r:id="rId26"/>
    <p:sldLayoutId id="2147483807" r:id="rId27"/>
    <p:sldLayoutId id="2147483808" r:id="rId28"/>
    <p:sldLayoutId id="2147483809" r:id="rId29"/>
    <p:sldLayoutId id="2147483810" r:id="rId30"/>
    <p:sldLayoutId id="2147483811" r:id="rId31"/>
    <p:sldLayoutId id="2147483812" r:id="rId32"/>
    <p:sldLayoutId id="2147483813" r:id="rId33"/>
    <p:sldLayoutId id="2147483814" r:id="rId34"/>
    <p:sldLayoutId id="2147483815" r:id="rId35"/>
    <p:sldLayoutId id="2147483816" r:id="rId36"/>
    <p:sldLayoutId id="2147483817" r:id="rId37"/>
    <p:sldLayoutId id="2147483818" r:id="rId38"/>
    <p:sldLayoutId id="2147483819" r:id="rId39"/>
    <p:sldLayoutId id="2147483820" r:id="rId40"/>
    <p:sldLayoutId id="2147483821" r:id="rId41"/>
    <p:sldLayoutId id="2147483822" r:id="rId42"/>
    <p:sldLayoutId id="2147483823" r:id="rId43"/>
    <p:sldLayoutId id="2147483824" r:id="rId44"/>
    <p:sldLayoutId id="2147483825" r:id="rId45"/>
    <p:sldLayoutId id="2147483826" r:id="rId46"/>
    <p:sldLayoutId id="2147483827" r:id="rId47"/>
    <p:sldLayoutId id="2147483828" r:id="rId48"/>
    <p:sldLayoutId id="2147483829" r:id="rId49"/>
    <p:sldLayoutId id="2147483830" r:id="rId50"/>
    <p:sldLayoutId id="2147483831" r:id="rId51"/>
    <p:sldLayoutId id="2147483832" r:id="rId52"/>
    <p:sldLayoutId id="2147483833" r:id="rId53"/>
    <p:sldLayoutId id="2147483834" r:id="rId54"/>
    <p:sldLayoutId id="2147483835" r:id="rId55"/>
    <p:sldLayoutId id="2147483836" r:id="rId56"/>
    <p:sldLayoutId id="2147483837" r:id="rId57"/>
    <p:sldLayoutId id="2147483838" r:id="rId58"/>
    <p:sldLayoutId id="2147483839" r:id="rId59"/>
    <p:sldLayoutId id="2147483840" r:id="rId60"/>
    <p:sldLayoutId id="2147483841" r:id="rId61"/>
    <p:sldLayoutId id="2147483842" r:id="rId62"/>
    <p:sldLayoutId id="2147483843" r:id="rId63"/>
    <p:sldLayoutId id="2147483940" r:id="rId64"/>
    <p:sldLayoutId id="2147483844" r:id="rId65"/>
    <p:sldLayoutId id="2147483845" r:id="rId66"/>
    <p:sldLayoutId id="2147483846" r:id="rId67"/>
    <p:sldLayoutId id="2147483939" r:id="rId68"/>
  </p:sldLayoutIdLst>
  <p:hf hdr="0" dt="0"/>
  <p:txStyles>
    <p:titleStyle>
      <a:lvl1pPr algn="l" defTabSz="742950" rtl="0" eaLnBrk="1" latinLnBrk="0" hangingPunct="1">
        <a:lnSpc>
          <a:spcPct val="85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742950" rtl="0" eaLnBrk="1" latinLnBrk="0" hangingPunct="1">
        <a:lnSpc>
          <a:spcPct val="100000"/>
        </a:lnSpc>
        <a:spcBef>
          <a:spcPts val="0"/>
        </a:spcBef>
        <a:spcAft>
          <a:spcPts val="975"/>
        </a:spcAft>
        <a:buFont typeface="Arial" panose="020B0604020202020204" pitchFamily="34" charset="0"/>
        <a:buNone/>
        <a:defRPr sz="1463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47042" indent="-147042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294084" indent="-147042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445770" indent="-147042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594360" indent="-148590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742950" indent="-148590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891540" indent="-148590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040130" indent="-148590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233">
          <p15:clr>
            <a:srgbClr val="F26B43"/>
          </p15:clr>
        </p15:guide>
        <p15:guide id="1" pos="217">
          <p15:clr>
            <a:srgbClr val="F26B43"/>
          </p15:clr>
        </p15:guide>
        <p15:guide id="2" pos="7401">
          <p15:clr>
            <a:srgbClr val="F26B43"/>
          </p15:clr>
        </p15:guide>
        <p15:guide id="4" pos="3007">
          <p15:clr>
            <a:srgbClr val="F26B43"/>
          </p15:clr>
        </p15:guide>
        <p15:guide id="5" orient="horz" pos="3888">
          <p15:clr>
            <a:srgbClr val="F26B43"/>
          </p15:clr>
        </p15:guide>
        <p15:guide id="10" orient="horz" pos="2160">
          <p15:clr>
            <a:srgbClr val="F26B43"/>
          </p15:clr>
        </p15:guide>
        <p15:guide id="11" orient="horz" pos="1325">
          <p15:clr>
            <a:srgbClr val="F26B43"/>
          </p15:clr>
        </p15:guide>
        <p15:guide id="12" orient="horz" pos="1146">
          <p15:clr>
            <a:srgbClr val="F26B43"/>
          </p15:clr>
        </p15:guide>
        <p15:guide id="13" orient="horz" pos="270">
          <p15:clr>
            <a:srgbClr val="F26B43"/>
          </p15:clr>
        </p15:guide>
        <p15:guide id="14" pos="602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2788098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395" imgH="394" progId="TCLayout.ActiveDocument.1">
                  <p:embed/>
                </p:oleObj>
              </mc:Choice>
              <mc:Fallback>
                <p:oleObj name="think-cell Slide" r:id="rId72" imgW="395" imgH="39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F4CCD5C-73BF-407F-A093-82490D56C2F7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6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867" y="432001"/>
            <a:ext cx="9186267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867" y="2103438"/>
            <a:ext cx="9186267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12240" y="6492240"/>
            <a:ext cx="1433894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609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12240" y="6355080"/>
            <a:ext cx="1433894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9">
                <a:solidFill>
                  <a:schemeClr val="tx1"/>
                </a:solidFill>
              </a:defRPr>
            </a:lvl1pPr>
          </a:lstStyle>
          <a:p>
            <a:r>
              <a:rPr lang="el-GR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9866" y="6355080"/>
            <a:ext cx="444738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609">
                <a:solidFill>
                  <a:schemeClr val="tx1"/>
                </a:solidFill>
              </a:defRPr>
            </a:lvl1pPr>
          </a:lstStyle>
          <a:p>
            <a:pPr algn="l"/>
            <a:r>
              <a:rPr lang="en-US"/>
              <a:t>National Private Debt Resolution 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96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  <p:sldLayoutId id="2147484020" r:id="rId9"/>
    <p:sldLayoutId id="2147484021" r:id="rId10"/>
    <p:sldLayoutId id="2147484022" r:id="rId11"/>
    <p:sldLayoutId id="2147484023" r:id="rId12"/>
    <p:sldLayoutId id="2147484024" r:id="rId13"/>
    <p:sldLayoutId id="2147484025" r:id="rId14"/>
    <p:sldLayoutId id="2147484026" r:id="rId15"/>
    <p:sldLayoutId id="2147484027" r:id="rId16"/>
    <p:sldLayoutId id="2147484028" r:id="rId17"/>
    <p:sldLayoutId id="2147484029" r:id="rId18"/>
    <p:sldLayoutId id="2147484030" r:id="rId19"/>
    <p:sldLayoutId id="2147484031" r:id="rId20"/>
    <p:sldLayoutId id="2147484032" r:id="rId21"/>
    <p:sldLayoutId id="2147484033" r:id="rId22"/>
    <p:sldLayoutId id="2147484034" r:id="rId23"/>
    <p:sldLayoutId id="2147484035" r:id="rId24"/>
    <p:sldLayoutId id="2147484036" r:id="rId25"/>
    <p:sldLayoutId id="2147484037" r:id="rId26"/>
    <p:sldLayoutId id="2147484038" r:id="rId27"/>
    <p:sldLayoutId id="2147484039" r:id="rId28"/>
    <p:sldLayoutId id="2147484040" r:id="rId29"/>
    <p:sldLayoutId id="2147484041" r:id="rId30"/>
    <p:sldLayoutId id="2147484042" r:id="rId31"/>
    <p:sldLayoutId id="2147484043" r:id="rId32"/>
    <p:sldLayoutId id="2147484044" r:id="rId33"/>
    <p:sldLayoutId id="2147484045" r:id="rId34"/>
    <p:sldLayoutId id="2147484046" r:id="rId35"/>
    <p:sldLayoutId id="2147484047" r:id="rId36"/>
    <p:sldLayoutId id="2147484048" r:id="rId37"/>
    <p:sldLayoutId id="2147484049" r:id="rId38"/>
    <p:sldLayoutId id="2147484050" r:id="rId39"/>
    <p:sldLayoutId id="2147484051" r:id="rId40"/>
    <p:sldLayoutId id="2147484052" r:id="rId41"/>
    <p:sldLayoutId id="2147484053" r:id="rId42"/>
    <p:sldLayoutId id="2147484054" r:id="rId43"/>
    <p:sldLayoutId id="2147484055" r:id="rId44"/>
    <p:sldLayoutId id="2147484056" r:id="rId45"/>
    <p:sldLayoutId id="2147484057" r:id="rId46"/>
    <p:sldLayoutId id="2147484058" r:id="rId47"/>
    <p:sldLayoutId id="2147484059" r:id="rId48"/>
    <p:sldLayoutId id="2147484060" r:id="rId49"/>
    <p:sldLayoutId id="2147484061" r:id="rId50"/>
    <p:sldLayoutId id="2147484062" r:id="rId51"/>
    <p:sldLayoutId id="2147484063" r:id="rId52"/>
    <p:sldLayoutId id="2147484064" r:id="rId53"/>
    <p:sldLayoutId id="2147484065" r:id="rId54"/>
    <p:sldLayoutId id="2147484066" r:id="rId55"/>
    <p:sldLayoutId id="2147484067" r:id="rId56"/>
    <p:sldLayoutId id="2147484068" r:id="rId57"/>
    <p:sldLayoutId id="2147484069" r:id="rId58"/>
    <p:sldLayoutId id="2147484070" r:id="rId59"/>
    <p:sldLayoutId id="2147484071" r:id="rId60"/>
    <p:sldLayoutId id="2147484072" r:id="rId61"/>
    <p:sldLayoutId id="2147484073" r:id="rId62"/>
    <p:sldLayoutId id="2147484074" r:id="rId63"/>
    <p:sldLayoutId id="2147484075" r:id="rId64"/>
    <p:sldLayoutId id="2147484076" r:id="rId65"/>
    <p:sldLayoutId id="2147484077" r:id="rId66"/>
    <p:sldLayoutId id="2147484078" r:id="rId67"/>
    <p:sldLayoutId id="2147484079" r:id="rId68"/>
  </p:sldLayoutIdLst>
  <p:hf hdr="0" dt="0"/>
  <p:txStyles>
    <p:titleStyle>
      <a:lvl1pPr algn="l" defTabSz="742950" rtl="0" eaLnBrk="1" latinLnBrk="0" hangingPunct="1">
        <a:lnSpc>
          <a:spcPct val="85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742950" rtl="0" eaLnBrk="1" latinLnBrk="0" hangingPunct="1">
        <a:lnSpc>
          <a:spcPct val="100000"/>
        </a:lnSpc>
        <a:spcBef>
          <a:spcPts val="0"/>
        </a:spcBef>
        <a:spcAft>
          <a:spcPts val="975"/>
        </a:spcAft>
        <a:buFont typeface="Arial" panose="020B0604020202020204" pitchFamily="34" charset="0"/>
        <a:buNone/>
        <a:defRPr sz="1463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47042" indent="-147042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294084" indent="-147042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445770" indent="-147042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594360" indent="-148590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742950" indent="-148590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891540" indent="-148590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040130" indent="-148590" algn="l" defTabSz="742950" rtl="0" eaLnBrk="1" latinLnBrk="0" hangingPunct="1">
        <a:lnSpc>
          <a:spcPct val="100000"/>
        </a:lnSpc>
        <a:spcBef>
          <a:spcPts val="0"/>
        </a:spcBef>
        <a:spcAft>
          <a:spcPts val="488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233">
          <p15:clr>
            <a:srgbClr val="F26B43"/>
          </p15:clr>
        </p15:guide>
        <p15:guide id="1" pos="217">
          <p15:clr>
            <a:srgbClr val="F26B43"/>
          </p15:clr>
        </p15:guide>
        <p15:guide id="2" pos="7401">
          <p15:clr>
            <a:srgbClr val="F26B43"/>
          </p15:clr>
        </p15:guide>
        <p15:guide id="4" pos="3007">
          <p15:clr>
            <a:srgbClr val="F26B43"/>
          </p15:clr>
        </p15:guide>
        <p15:guide id="5" orient="horz" pos="3888">
          <p15:clr>
            <a:srgbClr val="F26B43"/>
          </p15:clr>
        </p15:guide>
        <p15:guide id="10" orient="horz" pos="2160">
          <p15:clr>
            <a:srgbClr val="F26B43"/>
          </p15:clr>
        </p15:guide>
        <p15:guide id="11" orient="horz" pos="1325">
          <p15:clr>
            <a:srgbClr val="F26B43"/>
          </p15:clr>
        </p15:guide>
        <p15:guide id="12" orient="horz" pos="1146">
          <p15:clr>
            <a:srgbClr val="F26B43"/>
          </p15:clr>
        </p15:guide>
        <p15:guide id="13" orient="horz" pos="270">
          <p15:clr>
            <a:srgbClr val="F26B43"/>
          </p15:clr>
        </p15:guide>
        <p15:guide id="14" pos="60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3625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9" name="Picture Placeholder 6">
            <a:extLst>
              <a:ext uri="{FF2B5EF4-FFF2-40B4-BE49-F238E27FC236}">
                <a16:creationId xmlns:a16="http://schemas.microsoft.com/office/drawing/2014/main" id="{AB289109-8D91-1C47-A4B6-82792E5BE1C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91" r="12491"/>
          <a:stretch/>
        </p:blipFill>
        <p:spPr>
          <a:xfrm>
            <a:off x="3175" y="-1"/>
            <a:ext cx="9905999" cy="6712319"/>
          </a:xfr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4743AA0E-EC5A-D64D-A550-9167FB4E37EF}"/>
              </a:ext>
            </a:extLst>
          </p:cNvPr>
          <p:cNvGrpSpPr/>
          <p:nvPr userDrawn="1"/>
        </p:nvGrpSpPr>
        <p:grpSpPr>
          <a:xfrm>
            <a:off x="0" y="-69994"/>
            <a:ext cx="9906000" cy="6858000"/>
            <a:chOff x="-189543" y="0"/>
            <a:chExt cx="9333543" cy="6858000"/>
          </a:xfrm>
        </p:grpSpPr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42D8DD24-DA7C-744C-8768-F1692EB915F0}"/>
                </a:ext>
              </a:extLst>
            </p:cNvPr>
            <p:cNvSpPr>
              <a:spLocks noChangeAspect="1"/>
            </p:cNvSpPr>
            <p:nvPr userDrawn="1"/>
          </p:nvSpPr>
          <p:spPr bwMode="hidden">
            <a:xfrm>
              <a:off x="-189543" y="3615583"/>
              <a:ext cx="6971343" cy="780008"/>
            </a:xfrm>
            <a:custGeom>
              <a:avLst/>
              <a:gdLst>
                <a:gd name="T0" fmla="*/ 0 w 7908"/>
                <a:gd name="T1" fmla="*/ 0 h 1632"/>
                <a:gd name="T2" fmla="*/ 0 w 7908"/>
                <a:gd name="T3" fmla="*/ 0 h 1632"/>
                <a:gd name="T4" fmla="*/ 7908 w 7908"/>
                <a:gd name="T5" fmla="*/ 0 h 1632"/>
                <a:gd name="T6" fmla="*/ 7908 w 7908"/>
                <a:gd name="T7" fmla="*/ 1632 h 1632"/>
                <a:gd name="T8" fmla="*/ 0 w 7908"/>
                <a:gd name="T9" fmla="*/ 1632 h 1632"/>
                <a:gd name="T10" fmla="*/ 0 w 7908"/>
                <a:gd name="T11" fmla="*/ 0 h 1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08" h="1632">
                  <a:moveTo>
                    <a:pt x="0" y="0"/>
                  </a:moveTo>
                  <a:lnTo>
                    <a:pt x="0" y="0"/>
                  </a:lnTo>
                  <a:lnTo>
                    <a:pt x="7908" y="0"/>
                  </a:lnTo>
                  <a:lnTo>
                    <a:pt x="7908" y="1632"/>
                  </a:lnTo>
                  <a:lnTo>
                    <a:pt x="0" y="16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6464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9B131D6E-F057-6A4F-8DD2-E712CDFC5839}"/>
                </a:ext>
              </a:extLst>
            </p:cNvPr>
            <p:cNvSpPr>
              <a:spLocks noChangeAspect="1"/>
            </p:cNvSpPr>
            <p:nvPr userDrawn="1"/>
          </p:nvSpPr>
          <p:spPr bwMode="white">
            <a:xfrm>
              <a:off x="-189543" y="0"/>
              <a:ext cx="9333543" cy="6858000"/>
            </a:xfrm>
            <a:custGeom>
              <a:avLst/>
              <a:gdLst>
                <a:gd name="T0" fmla="*/ 14239 w 19200"/>
                <a:gd name="T1" fmla="*/ 0 h 14399"/>
                <a:gd name="T2" fmla="*/ 14239 w 19200"/>
                <a:gd name="T3" fmla="*/ 0 h 14399"/>
                <a:gd name="T4" fmla="*/ 14239 w 19200"/>
                <a:gd name="T5" fmla="*/ 6948 h 14399"/>
                <a:gd name="T6" fmla="*/ 0 w 19200"/>
                <a:gd name="T7" fmla="*/ 6948 h 14399"/>
                <a:gd name="T8" fmla="*/ 0 w 19200"/>
                <a:gd name="T9" fmla="*/ 7591 h 14399"/>
                <a:gd name="T10" fmla="*/ 14239 w 19200"/>
                <a:gd name="T11" fmla="*/ 7591 h 14399"/>
                <a:gd name="T12" fmla="*/ 14239 w 19200"/>
                <a:gd name="T13" fmla="*/ 9227 h 14399"/>
                <a:gd name="T14" fmla="*/ 0 w 19200"/>
                <a:gd name="T15" fmla="*/ 9227 h 14399"/>
                <a:gd name="T16" fmla="*/ 0 w 19200"/>
                <a:gd name="T17" fmla="*/ 9869 h 14399"/>
                <a:gd name="T18" fmla="*/ 14239 w 19200"/>
                <a:gd name="T19" fmla="*/ 9869 h 14399"/>
                <a:gd name="T20" fmla="*/ 14239 w 19200"/>
                <a:gd name="T21" fmla="*/ 14399 h 14399"/>
                <a:gd name="T22" fmla="*/ 14881 w 19200"/>
                <a:gd name="T23" fmla="*/ 14399 h 14399"/>
                <a:gd name="T24" fmla="*/ 14881 w 19200"/>
                <a:gd name="T25" fmla="*/ 9869 h 14399"/>
                <a:gd name="T26" fmla="*/ 19200 w 19200"/>
                <a:gd name="T27" fmla="*/ 9869 h 14399"/>
                <a:gd name="T28" fmla="*/ 19200 w 19200"/>
                <a:gd name="T29" fmla="*/ 9227 h 14399"/>
                <a:gd name="T30" fmla="*/ 14881 w 19200"/>
                <a:gd name="T31" fmla="*/ 9227 h 14399"/>
                <a:gd name="T32" fmla="*/ 14881 w 19200"/>
                <a:gd name="T33" fmla="*/ 7591 h 14399"/>
                <a:gd name="T34" fmla="*/ 19200 w 19200"/>
                <a:gd name="T35" fmla="*/ 7591 h 14399"/>
                <a:gd name="T36" fmla="*/ 19200 w 19200"/>
                <a:gd name="T37" fmla="*/ 6948 h 14399"/>
                <a:gd name="T38" fmla="*/ 14881 w 19200"/>
                <a:gd name="T39" fmla="*/ 6948 h 14399"/>
                <a:gd name="T40" fmla="*/ 14881 w 19200"/>
                <a:gd name="T41" fmla="*/ 0 h 14399"/>
                <a:gd name="T42" fmla="*/ 14239 w 19200"/>
                <a:gd name="T43" fmla="*/ 0 h 14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200" h="14399">
                  <a:moveTo>
                    <a:pt x="14239" y="0"/>
                  </a:moveTo>
                  <a:lnTo>
                    <a:pt x="14239" y="0"/>
                  </a:lnTo>
                  <a:lnTo>
                    <a:pt x="14239" y="6948"/>
                  </a:lnTo>
                  <a:lnTo>
                    <a:pt x="0" y="6948"/>
                  </a:lnTo>
                  <a:lnTo>
                    <a:pt x="0" y="7591"/>
                  </a:lnTo>
                  <a:lnTo>
                    <a:pt x="14239" y="7591"/>
                  </a:lnTo>
                  <a:lnTo>
                    <a:pt x="14239" y="9227"/>
                  </a:lnTo>
                  <a:lnTo>
                    <a:pt x="0" y="9227"/>
                  </a:lnTo>
                  <a:lnTo>
                    <a:pt x="0" y="9869"/>
                  </a:lnTo>
                  <a:lnTo>
                    <a:pt x="14239" y="9869"/>
                  </a:lnTo>
                  <a:lnTo>
                    <a:pt x="14239" y="14399"/>
                  </a:lnTo>
                  <a:lnTo>
                    <a:pt x="14881" y="14399"/>
                  </a:lnTo>
                  <a:lnTo>
                    <a:pt x="14881" y="9869"/>
                  </a:lnTo>
                  <a:lnTo>
                    <a:pt x="19200" y="9869"/>
                  </a:lnTo>
                  <a:lnTo>
                    <a:pt x="19200" y="9227"/>
                  </a:lnTo>
                  <a:lnTo>
                    <a:pt x="14881" y="9227"/>
                  </a:lnTo>
                  <a:lnTo>
                    <a:pt x="14881" y="7591"/>
                  </a:lnTo>
                  <a:lnTo>
                    <a:pt x="19200" y="7591"/>
                  </a:lnTo>
                  <a:lnTo>
                    <a:pt x="19200" y="6948"/>
                  </a:lnTo>
                  <a:lnTo>
                    <a:pt x="14881" y="6948"/>
                  </a:lnTo>
                  <a:lnTo>
                    <a:pt x="14881" y="0"/>
                  </a:lnTo>
                  <a:lnTo>
                    <a:pt x="1423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530" y="882501"/>
            <a:ext cx="7210044" cy="1893649"/>
          </a:xfrm>
        </p:spPr>
        <p:txBody>
          <a:bodyPr anchor="ctr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3200" b="1" dirty="0" err="1">
                <a:solidFill>
                  <a:schemeClr val="tx1"/>
                </a:solidFill>
              </a:rPr>
              <a:t>Covid</a:t>
            </a:r>
            <a:r>
              <a:rPr lang="en-US" sz="3200" b="1" dirty="0">
                <a:solidFill>
                  <a:schemeClr val="tx1"/>
                </a:solidFill>
              </a:rPr>
              <a:t> 19 Primary Residence Subsidy Scheme (L. 4714/2020) </a:t>
            </a:r>
            <a:endParaRPr lang="en-GB" sz="3200" b="1" dirty="0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529" y="3707386"/>
            <a:ext cx="2002054" cy="592074"/>
          </a:xfrm>
        </p:spPr>
        <p:txBody>
          <a:bodyPr/>
          <a:lstStyle/>
          <a:p>
            <a:pPr algn="ctr"/>
            <a:r>
              <a:rPr lang="en-US" dirty="0"/>
              <a:t>6 April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81526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664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1" y="432002"/>
            <a:ext cx="9114333" cy="510956"/>
          </a:xfrm>
        </p:spPr>
        <p:txBody>
          <a:bodyPr>
            <a:noAutofit/>
          </a:bodyPr>
          <a:lstStyle/>
          <a:p>
            <a:pPr>
              <a:tabLst>
                <a:tab pos="2511425" algn="l"/>
              </a:tabLst>
            </a:pPr>
            <a:r>
              <a:rPr lang="en-US" sz="2000" b="1" dirty="0"/>
              <a:t>Overview</a:t>
            </a:r>
          </a:p>
        </p:txBody>
      </p:sp>
      <p:sp>
        <p:nvSpPr>
          <p:cNvPr id="20" name="Rounded Rectangle 31">
            <a:extLst>
              <a:ext uri="{FF2B5EF4-FFF2-40B4-BE49-F238E27FC236}">
                <a16:creationId xmlns:a16="http://schemas.microsoft.com/office/drawing/2014/main" id="{A2EE0820-DAF7-4796-87C7-5ECAD58B804A}"/>
              </a:ext>
            </a:extLst>
          </p:cNvPr>
          <p:cNvSpPr/>
          <p:nvPr/>
        </p:nvSpPr>
        <p:spPr>
          <a:xfrm>
            <a:off x="431801" y="1141679"/>
            <a:ext cx="8687485" cy="4336012"/>
          </a:xfrm>
          <a:prstGeom prst="roundRect">
            <a:avLst>
              <a:gd name="adj" fmla="val 2525"/>
            </a:avLst>
          </a:prstGeom>
          <a:solidFill>
            <a:schemeClr val="bg1"/>
          </a:solidFill>
          <a:ln>
            <a:solidFill>
              <a:srgbClr val="62626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Ins="72000" rtlCol="0" anchor="t"/>
          <a:lstStyle/>
          <a:p>
            <a:pPr marL="171450" indent="-17145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en-US" sz="1200" dirty="0" err="1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Covid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 19 primary residence Subsidy Scheme (L. 4714/2020) which is currently in force, has contributed towards the support of customers that have been financially affected by CODIV-19 pandemic, via the provision of instalment subsidy for debts  on main residence, for 9 months. </a:t>
            </a:r>
          </a:p>
          <a:p>
            <a:pPr marL="171450" lvl="0" indent="-17145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en-US" sz="12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In total, during the period from August 3</a:t>
            </a:r>
            <a:r>
              <a:rPr lang="en-US" sz="1200" baseline="300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rd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 to March 31</a:t>
            </a:r>
            <a:r>
              <a:rPr lang="en-US" sz="1200" baseline="300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st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 2021:</a:t>
            </a:r>
          </a:p>
          <a:p>
            <a:pPr marL="628650" lvl="1" indent="-17145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en-US" sz="1200" b="1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151,6K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applications have been submitted, out of which:</a:t>
            </a:r>
          </a:p>
          <a:p>
            <a:pPr marL="1085850" lvl="2" indent="-17145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102,2K,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applications have eligible debts (160k) for subsidy</a:t>
            </a:r>
          </a:p>
          <a:p>
            <a:pPr marL="1085850" lvl="2" indent="-17145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31,7K,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pending validation of being affected by CODIV-19</a:t>
            </a:r>
          </a:p>
          <a:p>
            <a:pPr marL="1085850" lvl="2" indent="-17145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10,1K,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pending retrieval of financial data &amp; matching of the primary residence with respective debts</a:t>
            </a:r>
          </a:p>
          <a:p>
            <a:pPr marL="1085850" lvl="2" indent="-17145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7,6K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, pending confidentiality lifting for all family members</a:t>
            </a:r>
          </a:p>
          <a:p>
            <a:pPr marL="171450" indent="-17145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en-US" sz="1200" b="1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~</a:t>
            </a:r>
            <a:r>
              <a:rPr lang="el-GR" sz="1200" b="1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€</a:t>
            </a:r>
            <a:r>
              <a:rPr lang="en-US" sz="1200" b="1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100mn, 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has already been provided by state as subsidy during the period November 2020 to March 31</a:t>
            </a:r>
            <a:r>
              <a:rPr lang="en-US" sz="1200" baseline="300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st</a:t>
            </a:r>
            <a:r>
              <a:rPr lang="en-US" sz="1200" dirty="0">
                <a:solidFill>
                  <a:schemeClr val="tx1"/>
                </a:solidFill>
                <a:latin typeface="+mj-lt"/>
                <a:cs typeface="Segoe UI" panose="020B0502040204020203" pitchFamily="34" charset="0"/>
              </a:rPr>
              <a:t> 2021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499958-8CCC-4C83-AF3F-5F35378E36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89018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20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1851" y="432002"/>
            <a:ext cx="8884283" cy="510956"/>
          </a:xfrm>
        </p:spPr>
        <p:txBody>
          <a:bodyPr>
            <a:noAutofit/>
          </a:bodyPr>
          <a:lstStyle/>
          <a:p>
            <a:pPr>
              <a:tabLst>
                <a:tab pos="2511425" algn="l"/>
              </a:tabLst>
            </a:pPr>
            <a:r>
              <a:rPr lang="en-US" sz="2000" u="sng" dirty="0"/>
              <a:t>Restructured NPL loans_________________________________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499958-8CCC-4C83-AF3F-5F35378E36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2</a:t>
            </a:fld>
            <a:endParaRPr lang="en-GB" dirty="0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C3C6697A-A5D9-40C3-91BB-2C1B72D839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1140263"/>
              </p:ext>
            </p:extLst>
          </p:nvPr>
        </p:nvGraphicFramePr>
        <p:xfrm>
          <a:off x="661851" y="1630017"/>
          <a:ext cx="8090263" cy="2941984"/>
        </p:xfrm>
        <a:graphic>
          <a:graphicData uri="http://schemas.openxmlformats.org/drawingml/2006/table">
            <a:tbl>
              <a:tblPr/>
              <a:tblGrid>
                <a:gridCol w="4042105">
                  <a:extLst>
                    <a:ext uri="{9D8B030D-6E8A-4147-A177-3AD203B41FA5}">
                      <a16:colId xmlns:a16="http://schemas.microsoft.com/office/drawing/2014/main" val="561172586"/>
                    </a:ext>
                  </a:extLst>
                </a:gridCol>
                <a:gridCol w="4048158">
                  <a:extLst>
                    <a:ext uri="{9D8B030D-6E8A-4147-A177-3AD203B41FA5}">
                      <a16:colId xmlns:a16="http://schemas.microsoft.com/office/drawing/2014/main" val="1468923384"/>
                    </a:ext>
                  </a:extLst>
                </a:gridCol>
              </a:tblGrid>
              <a:tr h="65952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Gefyra</a:t>
                      </a:r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 I Schem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F4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728298"/>
                  </a:ext>
                </a:extLst>
              </a:tr>
              <a:tr h="65952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estructured NPL loans (Overdue/ Denounced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7888095"/>
                  </a:ext>
                </a:extLst>
              </a:tr>
              <a:tr h="8114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NUMBER OF LOANS</a:t>
                      </a:r>
                      <a:endParaRPr kumimoji="0" lang="el-GR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.505</a:t>
                      </a:r>
                      <a:endParaRPr lang="en-US" sz="18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8925109"/>
                  </a:ext>
                </a:extLst>
              </a:tr>
              <a:tr h="81146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Calibri" panose="020F0502020204030204" pitchFamily="34" charset="0"/>
                        </a:rPr>
                        <a:t>LOANS</a:t>
                      </a:r>
                      <a:r>
                        <a:rPr lang="en-US" sz="16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Calibri" panose="020F0502020204030204" pitchFamily="34" charset="0"/>
                        </a:rPr>
                        <a:t> AMOUNT (</a:t>
                      </a:r>
                      <a:r>
                        <a:rPr lang="el-GR" sz="16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cs typeface="Calibri" panose="020F0502020204030204" pitchFamily="34" charset="0"/>
                        </a:rPr>
                        <a:t>€)</a:t>
                      </a:r>
                      <a:endParaRPr lang="el-GR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  <a:r>
                        <a:rPr lang="en-US" sz="1800" b="1" i="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52.896.528,36</a:t>
                      </a:r>
                      <a:endParaRPr lang="en-US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9481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4DE6688-1F1D-4C5B-A2AD-305D9D249823}"/>
              </a:ext>
            </a:extLst>
          </p:cNvPr>
          <p:cNvSpPr txBox="1"/>
          <p:nvPr/>
        </p:nvSpPr>
        <p:spPr>
          <a:xfrm>
            <a:off x="596347" y="5340626"/>
            <a:ext cx="835590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Note: The above figures refer to loans that were restructured and then subsidized in accordance with the </a:t>
            </a:r>
            <a:r>
              <a:rPr lang="en-US" sz="13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Gefyra</a:t>
            </a:r>
            <a:r>
              <a:rPr lang="en-US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I scheme.</a:t>
            </a:r>
            <a:endParaRPr lang="el-GR" sz="1300" u="sng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88605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&lt;/m_strFormatTime&gt;&lt;m_yearfmt&gt;&lt;begin val=&quot;4&quot;/&gt;&lt;end val=&quot;4&quot;/&gt;&lt;/m_yearfmt&gt;&lt;/m_precDefaultMonth&gt;&lt;m_precDefaultWeek&gt;&lt;m_bNumberIsYear val=&quot;0&quot;/&gt;&lt;m_strFormatTime&gt;%#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9&quot;&gt;&lt;elem m_fUsage=&quot;4.09510000000000040643E+00&quot;&gt;&lt;m_msothmcolidx val=&quot;0&quot;/&gt;&lt;m_rgb r=&quot;04&quot; g=&quot;B3&quot; b=&quot;23&quot;/&gt;&lt;m_nBrightness val=&quot;0&quot;/&gt;&lt;/elem&gt;&lt;elem m_fUsage=&quot;1.12496663976277866404E+00&quot;&gt;&lt;m_msothmcolidx val=&quot;0&quot;/&gt;&lt;m_rgb r=&quot;C2&quot; g=&quot;FB&quot; b=&quot;9D&quot;/&gt;&lt;m_nBrightness val=&quot;0&quot;/&gt;&lt;/elem&gt;&lt;elem m_fUsage=&quot;1.10054348861610917787E+00&quot;&gt;&lt;m_msothmcolidx val=&quot;0&quot;/&gt;&lt;m_rgb r=&quot;4C&quot; g=&quot;9B&quot; b=&quot;DC&quot;/&gt;&lt;m_nBrightness val=&quot;0&quot;/&gt;&lt;/elem&gt;&lt;elem m_fUsage=&quot;9.18861489000000197791E-01&quot;&gt;&lt;m_msothmcolidx val=&quot;0&quot;/&gt;&lt;m_rgb r=&quot;A7&quot; g=&quot;D9&quot; b=&quot;0F&quot;/&gt;&lt;m_nBrightness val=&quot;0&quot;/&gt;&lt;/elem&gt;&lt;elem m_fUsage=&quot;8.85294559413900228328E-01&quot;&gt;&lt;m_msothmcolidx val=&quot;0&quot;/&gt;&lt;m_rgb r=&quot;06&quot; g=&quot;6B&quot; b=&quot;B0&quot;/&gt;&lt;m_nBrightness val=&quot;0&quot;/&gt;&lt;/elem&gt;&lt;elem m_fUsage=&quot;4.78296900000000135833E-01&quot;&gt;&lt;m_msothmcolidx val=&quot;0&quot;/&gt;&lt;m_rgb r=&quot;80&quot; g=&quot;A4&quot; b=&quot;F7&quot;/&gt;&lt;m_nBrightness val=&quot;0&quot;/&gt;&lt;/elem&gt;&lt;elem m_fUsage=&quot;4.30467210000000155556E-01&quot;&gt;&lt;m_msothmcolidx val=&quot;0&quot;/&gt;&lt;m_rgb r=&quot;09&quot; g=&quot;8C&quot; b=&quot;15&quot;/&gt;&lt;m_nBrightness val=&quot;0&quot;/&gt;&lt;/elem&gt;&lt;elem m_fUsage=&quot;1.70266888987546438639E-01&quot;&gt;&lt;m_msothmcolidx val=&quot;0&quot;/&gt;&lt;m_rgb r=&quot;61&quot; g=&quot;5C&quot; b=&quot;52&quot;/&gt;&lt;m_nBrightness val=&quot;0&quot;/&gt;&lt;/elem&gt;&lt;elem m_fUsage=&quot;1.50094635296999207030E-01&quot;&gt;&lt;m_msothmcolidx val=&quot;0&quot;/&gt;&lt;m_rgb r=&quot;9E&quot; g=&quot;FA&quot; b=&quot;F8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  <p:tag name="LASTSLIDEVIEWED" val="1163,11,Indicative interventions to enhance and expedite legal processe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0rTr7EmUXudna1uyCU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LyDjgkRzeqHNUnRdQP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E_9hAHTl6I_2gTUt5FU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E_9hAHTl6I_2gTUt5F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OI6uvNuKz7ANgvLMv3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resentation1" id="{F263BB68-960B-4111-8EAF-7ABCA2913049}" vid="{623EEB51-A4CC-4CFC-90F3-A67DAF2F600B}"/>
    </a:ext>
  </a:extLst>
</a:theme>
</file>

<file path=ppt/theme/theme2.xml><?xml version="1.0" encoding="utf-8"?>
<a:theme xmlns:a="http://schemas.openxmlformats.org/drawingml/2006/main" name="2_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resentation1" id="{F263BB68-960B-4111-8EAF-7ABCA2913049}" vid="{623EEB51-A4CC-4CFC-90F3-A67DAF2F600B}"/>
    </a:ext>
  </a:extLst>
</a:theme>
</file>

<file path=ppt/theme/theme3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255</TotalTime>
  <Words>205</Words>
  <Application>Microsoft Office PowerPoint</Application>
  <PresentationFormat>A4 Paper (210x297 mm)</PresentationFormat>
  <Paragraphs>21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Georgia</vt:lpstr>
      <vt:lpstr>Wingdings</vt:lpstr>
      <vt:lpstr>PwC</vt:lpstr>
      <vt:lpstr>2_PwC</vt:lpstr>
      <vt:lpstr>think-cell Slide</vt:lpstr>
      <vt:lpstr>Covid 19 Primary Residence Subsidy Scheme (L. 4714/2020) </vt:lpstr>
      <vt:lpstr>Overview</vt:lpstr>
      <vt:lpstr>Restructured NPL loans_________________________________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C Supply sales portofilio- Wholesale market projections</dc:title>
  <dc:creator>vangellis.markopoulos@gr.pwc.com</dc:creator>
  <cp:lastModifiedBy>Eirini Sakellari</cp:lastModifiedBy>
  <cp:revision>2922</cp:revision>
  <cp:lastPrinted>2020-01-16T13:22:59Z</cp:lastPrinted>
  <dcterms:created xsi:type="dcterms:W3CDTF">2017-07-07T13:37:40Z</dcterms:created>
  <dcterms:modified xsi:type="dcterms:W3CDTF">2021-04-19T07:52:51Z</dcterms:modified>
  <cp:category>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1A067545-A4E2-4FA1-8094-0D7902669705}</vt:lpwstr>
  </property>
  <property fmtid="{D5CDD505-2E9C-101B-9397-08002B2CF9AE}" pid="3" name="DLPManualFileClassificationLastModifiedBy">
    <vt:lpwstr>BANK\e32207</vt:lpwstr>
  </property>
  <property fmtid="{D5CDD505-2E9C-101B-9397-08002B2CF9AE}" pid="4" name="DLPManualFileClassificationLastModificationDate">
    <vt:lpwstr>1617720670</vt:lpwstr>
  </property>
  <property fmtid="{D5CDD505-2E9C-101B-9397-08002B2CF9AE}" pid="5" name="DLPManualFileClassificationVersion">
    <vt:lpwstr>10.0.300.68</vt:lpwstr>
  </property>
</Properties>
</file>